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tags/tag139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9.xml" ContentType="application/vnd.openxmlformats-officedocument.theme+xml"/>
  <Override PartName="/ppt/tags/tag143.xml" ContentType="application/vnd.openxmlformats-officedocument.presentationml.tags+xml"/>
  <Override PartName="/ppt/notesSlides/notesSlide1.xml" ContentType="application/vnd.openxmlformats-officedocument.presentationml.notesSlide+xml"/>
  <Override PartName="/ppt/tags/tag144.xml" ContentType="application/vnd.openxmlformats-officedocument.presentationml.tags+xml"/>
  <Override PartName="/ppt/notesSlides/notesSlide2.xml" ContentType="application/vnd.openxmlformats-officedocument.presentationml.notesSlide+xml"/>
  <Override PartName="/ppt/tags/tag145.xml" ContentType="application/vnd.openxmlformats-officedocument.presentationml.tags+xml"/>
  <Override PartName="/ppt/notesSlides/notesSlide3.xml" ContentType="application/vnd.openxmlformats-officedocument.presentationml.notesSlide+xml"/>
  <Override PartName="/ppt/tags/tag146.xml" ContentType="application/vnd.openxmlformats-officedocument.presentationml.tags+xml"/>
  <Override PartName="/ppt/notesSlides/notesSlide4.xml" ContentType="application/vnd.openxmlformats-officedocument.presentationml.notesSlide+xml"/>
  <Override PartName="/ppt/tags/tag147.xml" ContentType="application/vnd.openxmlformats-officedocument.presentationml.tags+xml"/>
  <Override PartName="/ppt/notesSlides/notesSlide5.xml" ContentType="application/vnd.openxmlformats-officedocument.presentationml.notesSlide+xml"/>
  <Override PartName="/ppt/tags/tag148.xml" ContentType="application/vnd.openxmlformats-officedocument.presentationml.tags+xml"/>
  <Override PartName="/ppt/notesSlides/notesSlide6.xml" ContentType="application/vnd.openxmlformats-officedocument.presentationml.notesSlide+xml"/>
  <Override PartName="/ppt/tags/tag149.xml" ContentType="application/vnd.openxmlformats-officedocument.presentationml.tags+xml"/>
  <Override PartName="/ppt/notesSlides/notesSlide7.xml" ContentType="application/vnd.openxmlformats-officedocument.presentationml.notesSlide+xml"/>
  <Override PartName="/ppt/tags/tag150.xml" ContentType="application/vnd.openxmlformats-officedocument.presentationml.tags+xml"/>
  <Override PartName="/ppt/notesSlides/notesSlide8.xml" ContentType="application/vnd.openxmlformats-officedocument.presentationml.notesSlide+xml"/>
  <Override PartName="/ppt/tags/tag151.xml" ContentType="application/vnd.openxmlformats-officedocument.presentationml.tags+xml"/>
  <Override PartName="/ppt/notesSlides/notesSlide9.xml" ContentType="application/vnd.openxmlformats-officedocument.presentationml.notesSlide+xml"/>
  <Override PartName="/ppt/tags/tag152.xml" ContentType="application/vnd.openxmlformats-officedocument.presentationml.tags+xml"/>
  <Override PartName="/ppt/notesSlides/notesSlide10.xml" ContentType="application/vnd.openxmlformats-officedocument.presentationml.notesSlide+xml"/>
  <Override PartName="/ppt/tags/tag15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5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155.xml" ContentType="application/vnd.openxmlformats-officedocument.presentationml.tags+xml"/>
  <Override PartName="/ppt/notesSlides/notesSlide13.xml" ContentType="application/vnd.openxmlformats-officedocument.presentationml.notesSlide+xml"/>
  <Override PartName="/ppt/tags/tag156.xml" ContentType="application/vnd.openxmlformats-officedocument.presentationml.tags+xml"/>
  <Override PartName="/ppt/notesSlides/notesSlide14.xml" ContentType="application/vnd.openxmlformats-officedocument.presentationml.notesSlide+xml"/>
  <Override PartName="/ppt/tags/tag157.xml" ContentType="application/vnd.openxmlformats-officedocument.presentationml.tags+xml"/>
  <Override PartName="/ppt/notesSlides/notesSlide15.xml" ContentType="application/vnd.openxmlformats-officedocument.presentationml.notesSlide+xml"/>
  <Override PartName="/ppt/tags/tag158.xml" ContentType="application/vnd.openxmlformats-officedocument.presentationml.tags+xml"/>
  <Override PartName="/ppt/notesSlides/notesSlide16.xml" ContentType="application/vnd.openxmlformats-officedocument.presentationml.notesSlide+xml"/>
  <Override PartName="/ppt/tags/tag159.xml" ContentType="application/vnd.openxmlformats-officedocument.presentationml.tags+xml"/>
  <Override PartName="/ppt/notesSlides/notesSlide17.xml" ContentType="application/vnd.openxmlformats-officedocument.presentationml.notesSlide+xml"/>
  <Override PartName="/ppt/tags/tag160.xml" ContentType="application/vnd.openxmlformats-officedocument.presentationml.tags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723" r:id="rId2"/>
    <p:sldMasterId id="2147483735" r:id="rId3"/>
    <p:sldMasterId id="2147483763" r:id="rId4"/>
    <p:sldMasterId id="2147483885" r:id="rId5"/>
    <p:sldMasterId id="2147483898" r:id="rId6"/>
    <p:sldMasterId id="2147483957" r:id="rId7"/>
    <p:sldMasterId id="2147483967" r:id="rId8"/>
  </p:sldMasterIdLst>
  <p:notesMasterIdLst>
    <p:notesMasterId r:id="rId31"/>
  </p:notesMasterIdLst>
  <p:sldIdLst>
    <p:sldId id="266" r:id="rId9"/>
    <p:sldId id="2147379273" r:id="rId10"/>
    <p:sldId id="2147379272" r:id="rId11"/>
    <p:sldId id="2147379274" r:id="rId12"/>
    <p:sldId id="2147379275" r:id="rId13"/>
    <p:sldId id="2147379303" r:id="rId14"/>
    <p:sldId id="2146847241" r:id="rId15"/>
    <p:sldId id="2147379277" r:id="rId16"/>
    <p:sldId id="2147379278" r:id="rId17"/>
    <p:sldId id="2147379304" r:id="rId18"/>
    <p:sldId id="2147379305" r:id="rId19"/>
    <p:sldId id="2147379306" r:id="rId20"/>
    <p:sldId id="2147379302" r:id="rId21"/>
    <p:sldId id="2147379283" r:id="rId22"/>
    <p:sldId id="533" r:id="rId23"/>
    <p:sldId id="2147379284" r:id="rId24"/>
    <p:sldId id="2147379285" r:id="rId25"/>
    <p:sldId id="2147379286" r:id="rId26"/>
    <p:sldId id="2147379287" r:id="rId27"/>
    <p:sldId id="2147379288" r:id="rId28"/>
    <p:sldId id="543" r:id="rId29"/>
    <p:sldId id="2147379307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301D0A3-6D1B-4D0D-9B5A-193B0AE1275D}">
          <p14:sldIdLst>
            <p14:sldId id="266"/>
            <p14:sldId id="2147379273"/>
            <p14:sldId id="2147379272"/>
            <p14:sldId id="2147379274"/>
            <p14:sldId id="2147379275"/>
            <p14:sldId id="2147379303"/>
            <p14:sldId id="2146847241"/>
            <p14:sldId id="2147379277"/>
            <p14:sldId id="2147379278"/>
            <p14:sldId id="2147379304"/>
            <p14:sldId id="2147379305"/>
            <p14:sldId id="2147379306"/>
            <p14:sldId id="2147379302"/>
            <p14:sldId id="2147379283"/>
            <p14:sldId id="533"/>
            <p14:sldId id="2147379284"/>
            <p14:sldId id="2147379285"/>
            <p14:sldId id="2147379286"/>
            <p14:sldId id="2147379287"/>
            <p14:sldId id="2147379288"/>
            <p14:sldId id="543"/>
            <p14:sldId id="214737930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34343"/>
    <a:srgbClr val="EE2924"/>
    <a:srgbClr val="ED1F24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52FE3E-9908-47D9-B09A-3F061A6CAD3E}" v="28" dt="2023-01-11T11:41:46.2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96" autoAdjust="0"/>
    <p:restoredTop sz="94504" autoAdjust="0"/>
  </p:normalViewPr>
  <p:slideViewPr>
    <p:cSldViewPr snapToGrid="0">
      <p:cViewPr varScale="1">
        <p:scale>
          <a:sx n="87" d="100"/>
          <a:sy n="87" d="100"/>
        </p:scale>
        <p:origin x="48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gs" Target="tags/tag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ycan Yilmaz" userId="b6387eb9-845e-4c52-a3eb-ce3d98c8d43a" providerId="ADAL" clId="{7F52FE3E-9908-47D9-B09A-3F061A6CAD3E}"/>
    <pc:docChg chg="custSel modSld replTag">
      <pc:chgData name="Aycan Yilmaz" userId="b6387eb9-845e-4c52-a3eb-ce3d98c8d43a" providerId="ADAL" clId="{7F52FE3E-9908-47D9-B09A-3F061A6CAD3E}" dt="2023-01-11T11:42:08.530" v="62" actId="1076"/>
      <pc:docMkLst>
        <pc:docMk/>
      </pc:docMkLst>
      <pc:sldChg chg="modSp mod">
        <pc:chgData name="Aycan Yilmaz" userId="b6387eb9-845e-4c52-a3eb-ce3d98c8d43a" providerId="ADAL" clId="{7F52FE3E-9908-47D9-B09A-3F061A6CAD3E}" dt="2023-01-11T11:42:08.530" v="62" actId="1076"/>
        <pc:sldMkLst>
          <pc:docMk/>
          <pc:sldMk cId="3524791834" sldId="2147379274"/>
        </pc:sldMkLst>
        <pc:spChg chg="mod ord">
          <ac:chgData name="Aycan Yilmaz" userId="b6387eb9-845e-4c52-a3eb-ce3d98c8d43a" providerId="ADAL" clId="{7F52FE3E-9908-47D9-B09A-3F061A6CAD3E}" dt="2023-01-11T11:41:41.496" v="10"/>
          <ac:spMkLst>
            <pc:docMk/>
            <pc:sldMk cId="3524791834" sldId="2147379274"/>
            <ac:spMk id="19" creationId="{EA535F75-FA37-4919-B268-617CCF63E88D}"/>
          </ac:spMkLst>
        </pc:spChg>
        <pc:spChg chg="mod ord">
          <ac:chgData name="Aycan Yilmaz" userId="b6387eb9-845e-4c52-a3eb-ce3d98c8d43a" providerId="ADAL" clId="{7F52FE3E-9908-47D9-B09A-3F061A6CAD3E}" dt="2023-01-11T11:41:41.499" v="30"/>
          <ac:spMkLst>
            <pc:docMk/>
            <pc:sldMk cId="3524791834" sldId="2147379274"/>
            <ac:spMk id="24" creationId="{8B1A003B-99C7-6B02-B31A-7EE3930DDB86}"/>
          </ac:spMkLst>
        </pc:spChg>
        <pc:spChg chg="mod ord">
          <ac:chgData name="Aycan Yilmaz" userId="b6387eb9-845e-4c52-a3eb-ce3d98c8d43a" providerId="ADAL" clId="{7F52FE3E-9908-47D9-B09A-3F061A6CAD3E}" dt="2023-01-11T11:41:41.497" v="14"/>
          <ac:spMkLst>
            <pc:docMk/>
            <pc:sldMk cId="3524791834" sldId="2147379274"/>
            <ac:spMk id="26" creationId="{F7B9FE63-248D-47D7-9ADB-036EEFD437C2}"/>
          </ac:spMkLst>
        </pc:spChg>
        <pc:spChg chg="mod ord">
          <ac:chgData name="Aycan Yilmaz" userId="b6387eb9-845e-4c52-a3eb-ce3d98c8d43a" providerId="ADAL" clId="{7F52FE3E-9908-47D9-B09A-3F061A6CAD3E}" dt="2023-01-11T11:41:41.497" v="16"/>
          <ac:spMkLst>
            <pc:docMk/>
            <pc:sldMk cId="3524791834" sldId="2147379274"/>
            <ac:spMk id="27" creationId="{202F8730-B5B5-400B-A54D-AC1C58E0A548}"/>
          </ac:spMkLst>
        </pc:spChg>
        <pc:spChg chg="mod ord">
          <ac:chgData name="Aycan Yilmaz" userId="b6387eb9-845e-4c52-a3eb-ce3d98c8d43a" providerId="ADAL" clId="{7F52FE3E-9908-47D9-B09A-3F061A6CAD3E}" dt="2023-01-11T11:41:41.497" v="18"/>
          <ac:spMkLst>
            <pc:docMk/>
            <pc:sldMk cId="3524791834" sldId="2147379274"/>
            <ac:spMk id="29" creationId="{B0D82440-C1D7-41A7-AEDA-79CBF29E3C6E}"/>
          </ac:spMkLst>
        </pc:spChg>
        <pc:spChg chg="mod ord">
          <ac:chgData name="Aycan Yilmaz" userId="b6387eb9-845e-4c52-a3eb-ce3d98c8d43a" providerId="ADAL" clId="{7F52FE3E-9908-47D9-B09A-3F061A6CAD3E}" dt="2023-01-11T11:41:41.500" v="32"/>
          <ac:spMkLst>
            <pc:docMk/>
            <pc:sldMk cId="3524791834" sldId="2147379274"/>
            <ac:spMk id="38" creationId="{7FE2D7A1-20C3-410C-997E-C64EF2A5ED11}"/>
          </ac:spMkLst>
        </pc:spChg>
        <pc:spChg chg="mod ord">
          <ac:chgData name="Aycan Yilmaz" userId="b6387eb9-845e-4c52-a3eb-ce3d98c8d43a" providerId="ADAL" clId="{7F52FE3E-9908-47D9-B09A-3F061A6CAD3E}" dt="2023-01-11T11:41:41.498" v="20"/>
          <ac:spMkLst>
            <pc:docMk/>
            <pc:sldMk cId="3524791834" sldId="2147379274"/>
            <ac:spMk id="39" creationId="{71D5D6E1-0B0C-4EC2-8EBE-1D5328292E95}"/>
          </ac:spMkLst>
        </pc:spChg>
        <pc:spChg chg="mod ord">
          <ac:chgData name="Aycan Yilmaz" userId="b6387eb9-845e-4c52-a3eb-ce3d98c8d43a" providerId="ADAL" clId="{7F52FE3E-9908-47D9-B09A-3F061A6CAD3E}" dt="2023-01-11T11:41:41.498" v="22"/>
          <ac:spMkLst>
            <pc:docMk/>
            <pc:sldMk cId="3524791834" sldId="2147379274"/>
            <ac:spMk id="40" creationId="{5409E253-B5C4-48DB-9A1B-8A5040542772}"/>
          </ac:spMkLst>
        </pc:spChg>
        <pc:spChg chg="mod ord">
          <ac:chgData name="Aycan Yilmaz" userId="b6387eb9-845e-4c52-a3eb-ce3d98c8d43a" providerId="ADAL" clId="{7F52FE3E-9908-47D9-B09A-3F061A6CAD3E}" dt="2023-01-11T11:41:41.498" v="24"/>
          <ac:spMkLst>
            <pc:docMk/>
            <pc:sldMk cId="3524791834" sldId="2147379274"/>
            <ac:spMk id="42" creationId="{C10ED79F-B3FA-4FEB-8F2F-206F88ED2086}"/>
          </ac:spMkLst>
        </pc:spChg>
        <pc:spChg chg="mod ord">
          <ac:chgData name="Aycan Yilmaz" userId="b6387eb9-845e-4c52-a3eb-ce3d98c8d43a" providerId="ADAL" clId="{7F52FE3E-9908-47D9-B09A-3F061A6CAD3E}" dt="2023-01-11T11:41:41.496" v="12"/>
          <ac:spMkLst>
            <pc:docMk/>
            <pc:sldMk cId="3524791834" sldId="2147379274"/>
            <ac:spMk id="44" creationId="{8D76ECB9-54AD-4760-B564-2D1319FF94B6}"/>
          </ac:spMkLst>
        </pc:spChg>
        <pc:spChg chg="mod ord">
          <ac:chgData name="Aycan Yilmaz" userId="b6387eb9-845e-4c52-a3eb-ce3d98c8d43a" providerId="ADAL" clId="{7F52FE3E-9908-47D9-B09A-3F061A6CAD3E}" dt="2023-01-11T11:41:41.500" v="34"/>
          <ac:spMkLst>
            <pc:docMk/>
            <pc:sldMk cId="3524791834" sldId="2147379274"/>
            <ac:spMk id="47" creationId="{39AAF0FE-9628-496C-9D67-B934B47C62B3}"/>
          </ac:spMkLst>
        </pc:spChg>
        <pc:spChg chg="mod ord">
          <ac:chgData name="Aycan Yilmaz" userId="b6387eb9-845e-4c52-a3eb-ce3d98c8d43a" providerId="ADAL" clId="{7F52FE3E-9908-47D9-B09A-3F061A6CAD3E}" dt="2023-01-11T11:41:41.500" v="36"/>
          <ac:spMkLst>
            <pc:docMk/>
            <pc:sldMk cId="3524791834" sldId="2147379274"/>
            <ac:spMk id="48" creationId="{891F650E-53FB-48D3-81E2-4B05CBCA8A35}"/>
          </ac:spMkLst>
        </pc:spChg>
        <pc:spChg chg="mod ord">
          <ac:chgData name="Aycan Yilmaz" userId="b6387eb9-845e-4c52-a3eb-ce3d98c8d43a" providerId="ADAL" clId="{7F52FE3E-9908-47D9-B09A-3F061A6CAD3E}" dt="2023-01-11T11:41:41.501" v="38"/>
          <ac:spMkLst>
            <pc:docMk/>
            <pc:sldMk cId="3524791834" sldId="2147379274"/>
            <ac:spMk id="49" creationId="{391908F1-34EB-42BF-BFF0-D5818595500A}"/>
          </ac:spMkLst>
        </pc:spChg>
        <pc:spChg chg="mod ord">
          <ac:chgData name="Aycan Yilmaz" userId="b6387eb9-845e-4c52-a3eb-ce3d98c8d43a" providerId="ADAL" clId="{7F52FE3E-9908-47D9-B09A-3F061A6CAD3E}" dt="2023-01-11T11:41:41.501" v="40"/>
          <ac:spMkLst>
            <pc:docMk/>
            <pc:sldMk cId="3524791834" sldId="2147379274"/>
            <ac:spMk id="51" creationId="{B3A7F26C-649D-479D-A708-5742D23C86C4}"/>
          </ac:spMkLst>
        </pc:spChg>
        <pc:grpChg chg="mod ord">
          <ac:chgData name="Aycan Yilmaz" userId="b6387eb9-845e-4c52-a3eb-ce3d98c8d43a" providerId="ADAL" clId="{7F52FE3E-9908-47D9-B09A-3F061A6CAD3E}" dt="2023-01-11T11:41:41.499" v="26"/>
          <ac:grpSpMkLst>
            <pc:docMk/>
            <pc:sldMk cId="3524791834" sldId="2147379274"/>
            <ac:grpSpMk id="10" creationId="{A6266CB8-A0BA-439E-9DEF-8987091B6671}"/>
          </ac:grpSpMkLst>
        </pc:grpChg>
        <pc:grpChg chg="mod ord">
          <ac:chgData name="Aycan Yilmaz" userId="b6387eb9-845e-4c52-a3eb-ce3d98c8d43a" providerId="ADAL" clId="{7F52FE3E-9908-47D9-B09A-3F061A6CAD3E}" dt="2023-01-11T11:41:41.502" v="48"/>
          <ac:grpSpMkLst>
            <pc:docMk/>
            <pc:sldMk cId="3524791834" sldId="2147379274"/>
            <ac:grpSpMk id="58" creationId="{4A48AB18-D4BB-4F9E-AED7-CF98C2DD4ADB}"/>
          </ac:grpSpMkLst>
        </pc:grpChg>
        <pc:grpChg chg="mod ord">
          <ac:chgData name="Aycan Yilmaz" userId="b6387eb9-845e-4c52-a3eb-ce3d98c8d43a" providerId="ADAL" clId="{7F52FE3E-9908-47D9-B09A-3F061A6CAD3E}" dt="2023-01-11T11:41:41.501" v="42"/>
          <ac:grpSpMkLst>
            <pc:docMk/>
            <pc:sldMk cId="3524791834" sldId="2147379274"/>
            <ac:grpSpMk id="59" creationId="{384CB1EF-0FF8-4AE1-BBBE-CF5F722918DE}"/>
          </ac:grpSpMkLst>
        </pc:grpChg>
        <pc:grpChg chg="mod ord">
          <ac:chgData name="Aycan Yilmaz" userId="b6387eb9-845e-4c52-a3eb-ce3d98c8d43a" providerId="ADAL" clId="{7F52FE3E-9908-47D9-B09A-3F061A6CAD3E}" dt="2023-01-11T11:41:41.499" v="28"/>
          <ac:grpSpMkLst>
            <pc:docMk/>
            <pc:sldMk cId="3524791834" sldId="2147379274"/>
            <ac:grpSpMk id="60" creationId="{30316B96-9D1B-440B-8402-360697A24486}"/>
          </ac:grpSpMkLst>
        </pc:grpChg>
        <pc:graphicFrameChg chg="mod">
          <ac:chgData name="Aycan Yilmaz" userId="b6387eb9-845e-4c52-a3eb-ce3d98c8d43a" providerId="ADAL" clId="{7F52FE3E-9908-47D9-B09A-3F061A6CAD3E}" dt="2023-01-11T11:41:41.507" v="58"/>
          <ac:graphicFrameMkLst>
            <pc:docMk/>
            <pc:sldMk cId="3524791834" sldId="2147379274"/>
            <ac:graphicFrameMk id="6" creationId="{E8A91405-86FA-4715-96CE-E1F8CB4468E7}"/>
          </ac:graphicFrameMkLst>
        </pc:graphicFrameChg>
        <pc:picChg chg="mod ord">
          <ac:chgData name="Aycan Yilmaz" userId="b6387eb9-845e-4c52-a3eb-ce3d98c8d43a" providerId="ADAL" clId="{7F52FE3E-9908-47D9-B09A-3F061A6CAD3E}" dt="2023-01-11T11:41:46.362" v="59" actId="1076"/>
          <ac:picMkLst>
            <pc:docMk/>
            <pc:sldMk cId="3524791834" sldId="2147379274"/>
            <ac:picMk id="5" creationId="{66B4DC0B-7B50-6B7D-E996-F4DFFDFC2790}"/>
          </ac:picMkLst>
        </pc:picChg>
        <pc:picChg chg="mod ord">
          <ac:chgData name="Aycan Yilmaz" userId="b6387eb9-845e-4c52-a3eb-ce3d98c8d43a" providerId="ADAL" clId="{7F52FE3E-9908-47D9-B09A-3F061A6CAD3E}" dt="2023-01-11T11:42:08.530" v="62" actId="1076"/>
          <ac:picMkLst>
            <pc:docMk/>
            <pc:sldMk cId="3524791834" sldId="2147379274"/>
            <ac:picMk id="8" creationId="{CE1C1568-1BAB-D137-0E7F-7567B7C8A1C9}"/>
          </ac:picMkLst>
        </pc:picChg>
        <pc:picChg chg="mod ord">
          <ac:chgData name="Aycan Yilmaz" userId="b6387eb9-845e-4c52-a3eb-ce3d98c8d43a" providerId="ADAL" clId="{7F52FE3E-9908-47D9-B09A-3F061A6CAD3E}" dt="2023-01-11T11:41:41.501" v="44"/>
          <ac:picMkLst>
            <pc:docMk/>
            <pc:sldMk cId="3524791834" sldId="2147379274"/>
            <ac:picMk id="55" creationId="{F74440BD-A0D3-4520-BBF2-4A72488C67E2}"/>
          </ac:picMkLst>
        </pc:picChg>
        <pc:picChg chg="mod ord">
          <ac:chgData name="Aycan Yilmaz" userId="b6387eb9-845e-4c52-a3eb-ce3d98c8d43a" providerId="ADAL" clId="{7F52FE3E-9908-47D9-B09A-3F061A6CAD3E}" dt="2023-01-11T11:41:41.502" v="46"/>
          <ac:picMkLst>
            <pc:docMk/>
            <pc:sldMk cId="3524791834" sldId="2147379274"/>
            <ac:picMk id="56" creationId="{A512657F-DB13-413C-8402-CC50CBFD2237}"/>
          </ac:picMkLst>
        </pc:picChg>
        <pc:picChg chg="mod ord">
          <ac:chgData name="Aycan Yilmaz" userId="b6387eb9-845e-4c52-a3eb-ce3d98c8d43a" providerId="ADAL" clId="{7F52FE3E-9908-47D9-B09A-3F061A6CAD3E}" dt="2023-01-11T11:41:41.504" v="50"/>
          <ac:picMkLst>
            <pc:docMk/>
            <pc:sldMk cId="3524791834" sldId="2147379274"/>
            <ac:picMk id="64" creationId="{F9DA9FE3-249E-433B-8E45-811B612C91C5}"/>
          </ac:picMkLst>
        </pc:picChg>
        <pc:picChg chg="mod ord">
          <ac:chgData name="Aycan Yilmaz" userId="b6387eb9-845e-4c52-a3eb-ce3d98c8d43a" providerId="ADAL" clId="{7F52FE3E-9908-47D9-B09A-3F061A6CAD3E}" dt="2023-01-11T11:41:41.504" v="52"/>
          <ac:picMkLst>
            <pc:docMk/>
            <pc:sldMk cId="3524791834" sldId="2147379274"/>
            <ac:picMk id="66" creationId="{CC57FE03-7549-40DF-9729-B96FBB33972D}"/>
          </ac:picMkLst>
        </pc:picChg>
        <pc:picChg chg="mod ord">
          <ac:chgData name="Aycan Yilmaz" userId="b6387eb9-845e-4c52-a3eb-ce3d98c8d43a" providerId="ADAL" clId="{7F52FE3E-9908-47D9-B09A-3F061A6CAD3E}" dt="2023-01-11T11:41:41.505" v="54"/>
          <ac:picMkLst>
            <pc:docMk/>
            <pc:sldMk cId="3524791834" sldId="2147379274"/>
            <ac:picMk id="68" creationId="{04DC9A10-D0DE-4790-9A21-DD3969249704}"/>
          </ac:picMkLst>
        </pc:picChg>
        <pc:picChg chg="mod">
          <ac:chgData name="Aycan Yilmaz" userId="b6387eb9-845e-4c52-a3eb-ce3d98c8d43a" providerId="ADAL" clId="{7F52FE3E-9908-47D9-B09A-3F061A6CAD3E}" dt="2023-01-11T11:41:41.505" v="55"/>
          <ac:picMkLst>
            <pc:docMk/>
            <pc:sldMk cId="3524791834" sldId="2147379274"/>
            <ac:picMk id="48186" creationId="{A1B10646-8DB0-467D-B6A2-195F3040638F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A8E-4275-BA3D-DA92776AEA6C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A8E-4275-BA3D-DA92776AEA6C}"/>
              </c:ext>
            </c:extLst>
          </c:dPt>
          <c:dLbls>
            <c:dLbl>
              <c:idx val="0"/>
              <c:layout>
                <c:manualLayout>
                  <c:x val="-0.15978089902064871"/>
                  <c:y val="3.88735026944079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A8E-4275-BA3D-DA92776AEA6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7A8E-4275-BA3D-DA92776AEA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On Premise</c:v>
                </c:pt>
                <c:pt idx="1">
                  <c:v>Hom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8E-4275-BA3D-DA92776AEA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095481929195912"/>
          <c:y val="0.84884510594586726"/>
          <c:w val="0.80904518070804088"/>
          <c:h val="0.116884506996645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2E8-4670-A87A-021A86EB9F14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2E8-4670-A87A-021A86EB9F14}"/>
              </c:ext>
            </c:extLst>
          </c:dPt>
          <c:dLbls>
            <c:dLbl>
              <c:idx val="0"/>
              <c:layout>
                <c:manualLayout>
                  <c:x val="-0.11233913681542265"/>
                  <c:y val="0.1675145873816815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accent1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E8-4670-A87A-021A86EB9F14}"/>
                </c:ext>
              </c:extLst>
            </c:dLbl>
            <c:dLbl>
              <c:idx val="1"/>
              <c:layout>
                <c:manualLayout>
                  <c:x val="0.13231352144620107"/>
                  <c:y val="-0.208394974850261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E8-4670-A87A-021A86EB9F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1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Horeca</c:v>
                </c:pt>
                <c:pt idx="1">
                  <c:v>Modern trad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8</c:v>
                </c:pt>
                <c:pt idx="1">
                  <c:v>0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E8-4670-A87A-021A86EB9F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6C2-4597-9D20-7E0AD42E4362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6C2-4597-9D20-7E0AD42E4362}"/>
              </c:ext>
            </c:extLst>
          </c:dPt>
          <c:dLbls>
            <c:dLbl>
              <c:idx val="0"/>
              <c:layout>
                <c:manualLayout>
                  <c:x val="-0.17598728758271062"/>
                  <c:y val="6.59560584380551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accent1">
                          <a:lumMod val="1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6C2-4597-9D20-7E0AD42E4362}"/>
                </c:ext>
              </c:extLst>
            </c:dLbl>
            <c:dLbl>
              <c:idx val="1"/>
              <c:layout>
                <c:manualLayout>
                  <c:x val="0.18712787993771393"/>
                  <c:y val="-7.8256113242390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6C2-4597-9D20-7E0AD42E43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accent1">
                        <a:lumMod val="1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Horeca</c:v>
                </c:pt>
                <c:pt idx="1">
                  <c:v>Modern trad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1</c:v>
                </c:pt>
                <c:pt idx="1">
                  <c:v>0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6C2-4597-9D20-7E0AD42E43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B4-4BAD-8F2C-1AFDC9DB3940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B4-4BAD-8F2C-1AFDC9DB3940}"/>
              </c:ext>
            </c:extLst>
          </c:dPt>
          <c:dLbls>
            <c:dLbl>
              <c:idx val="0"/>
              <c:layout>
                <c:manualLayout>
                  <c:x val="3.2250292387993602E-2"/>
                  <c:y val="1.960463046811914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6B4-4BAD-8F2C-1AFDC9DB394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F6B4-4BAD-8F2C-1AFDC9DB39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KO Share</c:v>
                </c:pt>
                <c:pt idx="1">
                  <c:v>Other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6999999999999995</c:v>
                </c:pt>
                <c:pt idx="1">
                  <c:v>0.43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B4-4BAD-8F2C-1AFDC9DB3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04581767931941E-2"/>
          <c:y val="8.4599222286677017E-2"/>
          <c:w val="0.92459083646413609"/>
          <c:h val="0.720069833216297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  <c:pt idx="0">
                  <c:v>2008</c:v>
                </c:pt>
                <c:pt idx="1">
                  <c:v>2013</c:v>
                </c:pt>
                <c:pt idx="2">
                  <c:v>2021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220</c:v>
                </c:pt>
                <c:pt idx="1">
                  <c:v>170</c:v>
                </c:pt>
                <c:pt idx="2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ED-4540-80ED-B7A600E87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69568280"/>
        <c:axId val="469568672"/>
      </c:barChart>
      <c:catAx>
        <c:axId val="469568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469568672"/>
        <c:crosses val="autoZero"/>
        <c:auto val="1"/>
        <c:lblAlgn val="ctr"/>
        <c:lblOffset val="100"/>
        <c:noMultiLvlLbl val="0"/>
      </c:catAx>
      <c:valAx>
        <c:axId val="4695686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95682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2F-4F44-B741-F15422E9956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2F-4F44-B741-F15422E9956A}"/>
              </c:ext>
            </c:extLst>
          </c:dPt>
          <c:dLbls>
            <c:dLbl>
              <c:idx val="0"/>
              <c:layout>
                <c:manualLayout>
                  <c:x val="-3.9007404442665599E-3"/>
                  <c:y val="1.17914557527195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2F-4F44-B741-F15422E9956A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2F-4F44-B741-F15422E995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Sheet1!$B$2:$B$3</c:f>
              <c:numCache>
                <c:formatCode>0%</c:formatCode>
                <c:ptCount val="2"/>
                <c:pt idx="0">
                  <c:v>0.6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2F-4F44-B741-F15422E9956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 w="19050">
              <a:solidFill>
                <a:schemeClr val="lt1"/>
              </a:solidFill>
            </a:ln>
            <a:effectLst/>
          </c:spPr>
          <c:invertIfNegative val="0"/>
          <c:cat>
            <c:numRef>
              <c:f>Sheet1!$A$2:$A$3</c:f>
              <c:numCache>
                <c:formatCode>General</c:formatCode>
                <c:ptCount val="2"/>
                <c:pt idx="0">
                  <c:v>2016</c:v>
                </c:pt>
                <c:pt idx="1">
                  <c:v>2017</c:v>
                </c:pt>
              </c:numCache>
            </c:numRef>
          </c:cat>
          <c:val>
            <c:numRef>
              <c:f>Sheet1!$C$2:$C$3</c:f>
              <c:numCache>
                <c:formatCode>0%</c:formatCode>
                <c:ptCount val="2"/>
                <c:pt idx="0">
                  <c:v>0.4</c:v>
                </c:pt>
                <c:pt idx="1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42F-4F44-B741-F15422E995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469570240"/>
        <c:axId val="469569848"/>
      </c:barChart>
      <c:catAx>
        <c:axId val="46957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DE"/>
          </a:p>
        </c:txPr>
        <c:crossAx val="469569848"/>
        <c:crosses val="autoZero"/>
        <c:auto val="1"/>
        <c:lblAlgn val="ctr"/>
        <c:lblOffset val="100"/>
        <c:noMultiLvlLbl val="0"/>
      </c:catAx>
      <c:valAx>
        <c:axId val="46956984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469570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DE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2668</cdr:x>
      <cdr:y>0.39196</cdr:y>
    </cdr:from>
    <cdr:to>
      <cdr:x>0.85567</cdr:x>
      <cdr:y>0.5746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47CA2DE-57D5-47B7-B525-9ECD7BAD016A}"/>
            </a:ext>
          </a:extLst>
        </cdr:cNvPr>
        <cdr:cNvSpPr txBox="1"/>
      </cdr:nvSpPr>
      <cdr:spPr>
        <a:xfrm xmlns:a="http://schemas.openxmlformats.org/drawingml/2006/main">
          <a:off x="1353209" y="550747"/>
          <a:ext cx="494462" cy="25674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s-ES" sz="1100" dirty="0">
              <a:solidFill>
                <a:schemeClr val="bg1"/>
              </a:solidFill>
            </a:rPr>
            <a:t>70%</a:t>
          </a:r>
          <a:endParaRPr lang="en-US" sz="1100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F8542E61-62FE-41BC-841F-318BFFB66BA1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B1BF77F9-CAFC-4F5D-9D7F-916AB14C219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5966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155D2E-BF5C-4C44-8725-3C4A4A0AE3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3993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9394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742356">
              <a:spcBef>
                <a:spcPts val="1499"/>
              </a:spcBef>
              <a:buFont typeface="+mj-lt"/>
              <a:buNone/>
            </a:pPr>
            <a:endParaRPr lang="es-ES" sz="2000" b="0" baseline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8DFDA3-7D84-4093-899D-8DD67E0C86D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9757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6871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87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018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0948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590309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1B6431-649C-448D-8FF1-876992CF977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/>
                <a:sym typeface="Arial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0586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Vision – AFFORDABILITY + PREMIUMZATION</a:t>
            </a:r>
          </a:p>
          <a:p>
            <a:pPr marL="171450" indent="-171450">
              <a:buFontTx/>
              <a:buChar char="-"/>
            </a:pPr>
            <a:r>
              <a:rPr lang="en-US" dirty="0"/>
              <a:t>Strategy – opportunity mapping (channel segmentation, regional segmentation)</a:t>
            </a:r>
          </a:p>
          <a:p>
            <a:pPr marL="171450" indent="-171450">
              <a:buFontTx/>
              <a:buChar char="-"/>
            </a:pPr>
            <a:r>
              <a:rPr lang="en-US" dirty="0"/>
              <a:t>Plans: Investment</a:t>
            </a:r>
          </a:p>
          <a:p>
            <a:pPr marL="171450" indent="-171450">
              <a:buFontTx/>
              <a:buChar char="-"/>
            </a:pPr>
            <a:r>
              <a:rPr lang="en-US" dirty="0"/>
              <a:t>Business cases</a:t>
            </a:r>
          </a:p>
          <a:p>
            <a:pPr marL="171450" indent="-171450">
              <a:buFontTx/>
              <a:buChar char="-"/>
            </a:pPr>
            <a:r>
              <a:rPr lang="en-US" dirty="0"/>
              <a:t>Integrated solutioning: Tools + How</a:t>
            </a:r>
          </a:p>
          <a:p>
            <a:pPr marL="171450" indent="-171450">
              <a:buFontTx/>
              <a:buChar char="-"/>
            </a:pPr>
            <a:endParaRPr lang="en-US" dirty="0"/>
          </a:p>
          <a:p>
            <a:pPr marL="0" indent="0">
              <a:buFontTx/>
              <a:buNone/>
            </a:pPr>
            <a:r>
              <a:rPr lang="en-US" b="1" u="sng" dirty="0"/>
              <a:t>NEXT STEPS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BF77F9-CAFC-4F5D-9D7F-916AB14C21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43149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55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032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24950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995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0525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71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89640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BF77F9-CAFC-4F5D-9D7F-916AB14C2193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218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0.xml"/><Relationship Id="rId7" Type="http://schemas.openxmlformats.org/officeDocument/2006/relationships/image" Target="../media/image3.jpe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6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5" Type="http://schemas.openxmlformats.org/officeDocument/2006/relationships/tags" Target="../tags/tag66.xml"/><Relationship Id="rId4" Type="http://schemas.openxmlformats.org/officeDocument/2006/relationships/tags" Target="../tags/tag65.xml"/><Relationship Id="rId9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5" Type="http://schemas.openxmlformats.org/officeDocument/2006/relationships/tags" Target="../tags/tag16.xml"/><Relationship Id="rId10" Type="http://schemas.openxmlformats.org/officeDocument/2006/relationships/image" Target="../media/image2.png"/><Relationship Id="rId4" Type="http://schemas.openxmlformats.org/officeDocument/2006/relationships/tags" Target="../tags/tag15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jp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5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9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7.xml"/><Relationship Id="rId4" Type="http://schemas.openxmlformats.org/officeDocument/2006/relationships/image" Target="../media/image2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8.x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2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6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5.xml"/><Relationship Id="rId4" Type="http://schemas.openxmlformats.org/officeDocument/2006/relationships/image" Target="../media/image27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6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image" Target="../media/image1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7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67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8.xml"/><Relationship Id="rId6" Type="http://schemas.openxmlformats.org/officeDocument/2006/relationships/image" Target="../media/image9.png"/><Relationship Id="rId11" Type="http://schemas.openxmlformats.org/officeDocument/2006/relationships/image" Target="../media/image14.svg"/><Relationship Id="rId5" Type="http://schemas.openxmlformats.org/officeDocument/2006/relationships/image" Target="../media/image8.jp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sv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1.emf"/><Relationship Id="rId5" Type="http://schemas.openxmlformats.org/officeDocument/2006/relationships/tags" Target="../tags/tag4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42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9.bin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7D21EA-BE9C-45CA-AF0D-81C23CC2AE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574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57D21EA-BE9C-45CA-AF0D-81C23CC2A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46128" y="1122363"/>
            <a:ext cx="11502972" cy="2306637"/>
          </a:xfrm>
        </p:spPr>
        <p:txBody>
          <a:bodyPr vert="horz" anchor="b">
            <a:normAutofit/>
          </a:bodyPr>
          <a:lstStyle>
            <a:lvl1pPr algn="l"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46128" y="3429000"/>
            <a:ext cx="11502972" cy="1828800"/>
          </a:xfrm>
        </p:spPr>
        <p:txBody>
          <a:bodyPr/>
          <a:lstStyle>
            <a:lvl1pPr marL="0" indent="0" algn="l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346128" y="6140449"/>
            <a:ext cx="2743200" cy="3651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5F52C39B-69D0-498C-9ED2-C4A5831F94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354" y="286439"/>
            <a:ext cx="2785246" cy="62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84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DDE2AD-618E-4ECF-9503-4AE7D7E380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580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DDE2AD-618E-4ECF-9503-4AE7D7E380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3" name="btfpLayoutConfig" hidden="1"/>
          <p:cNvSpPr txBox="1"/>
          <p:nvPr userDrawn="1">
            <p:custDataLst>
              <p:tags r:id="rId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overall_0_132517897595221034 columns_1_132517897595221034 </a:t>
            </a:r>
          </a:p>
        </p:txBody>
      </p:sp>
    </p:spTree>
    <p:extLst>
      <p:ext uri="{BB962C8B-B14F-4D97-AF65-F5344CB8AC3E}">
        <p14:creationId xmlns:p14="http://schemas.microsoft.com/office/powerpoint/2010/main" val="54151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C7B52D-0AB5-4765-9D61-810DC41B3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768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C7B52D-0AB5-4765-9D61-810DC41B3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0449" y="1906795"/>
            <a:ext cx="2991102" cy="3044409"/>
          </a:xfrm>
          <a:prstGeom prst="rect">
            <a:avLst/>
          </a:prstGeom>
        </p:spPr>
      </p:pic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5EE56507-3ED8-4722-BDF0-7E8358F9769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354" y="286439"/>
            <a:ext cx="2785246" cy="62379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B7A0102-7742-4E12-BB68-17EFCC4B1E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6721474"/>
            <a:ext cx="12192000" cy="136525"/>
          </a:xfrm>
          <a:prstGeom prst="rect">
            <a:avLst/>
          </a:prstGeom>
          <a:gradFill>
            <a:gsLst>
              <a:gs pos="0">
                <a:srgbClr val="F40009"/>
              </a:gs>
              <a:gs pos="50000">
                <a:srgbClr val="F79900"/>
              </a:gs>
              <a:gs pos="100000">
                <a:srgbClr val="6AC9C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MSIPCMContentMarking" descr="{&quot;HashCode&quot;:-628114645,&quot;Placement&quot;:&quot;Footer&quot;}">
            <a:extLst>
              <a:ext uri="{FF2B5EF4-FFF2-40B4-BE49-F238E27FC236}">
                <a16:creationId xmlns:a16="http://schemas.microsoft.com/office/drawing/2014/main" id="{919C5BB1-F7C9-4CC0-AE4D-816C8A108216}"/>
              </a:ext>
            </a:extLst>
          </p:cNvPr>
          <p:cNvSpPr txBox="1"/>
          <p:nvPr userDrawn="1"/>
        </p:nvSpPr>
        <p:spPr>
          <a:xfrm>
            <a:off x="5343543" y="6649884"/>
            <a:ext cx="1504914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8980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1541DD-5CF0-4AA0-AF43-C57ED4596A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255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1541DD-5CF0-4AA0-AF43-C57ED4596A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368BE1F0-C619-484D-8D6F-CE9A016A385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6543" y="2858011"/>
            <a:ext cx="5098915" cy="114197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6128" y="6140449"/>
            <a:ext cx="2743200" cy="3651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28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480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571333"/>
            <a:ext cx="11082528" cy="332399"/>
          </a:xfrm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0471"/>
            <a:ext cx="11082528" cy="2492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7267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D7481ED-8C08-4FEF-84B5-57847C0891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357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D7481ED-8C08-4FEF-84B5-57847C0891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Google Shape;69;p16"/>
          <p:cNvSpPr txBox="1"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70" name="Google Shape;70;p16"/>
          <p:cNvSpPr txBox="1"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2000">
                <a:solidFill>
                  <a:srgbClr val="888888"/>
                </a:solidFill>
              </a:defRPr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71" name="Google Shape;71;p1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72" name="Google Shape;72;p16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73" name="Google Shape;73;p1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516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379956D-BE46-46C7-AA2C-18CDBAF57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953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379956D-BE46-46C7-AA2C-18CDBAF57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Google Shape;75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76" name="Google Shape;76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77" name="Google Shape;77;p1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78" name="Google Shape;78;p1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79" name="Google Shape;79;p17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80" name="Google Shape;80;p1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617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3FA9A2-196F-4AD6-9867-18DB4F2133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088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13FA9A2-196F-4AD6-9867-18DB4F2133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Google Shape;82;p1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83" name="Google Shape;83;p1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 lang="en-US" dirty="0"/>
          </a:p>
        </p:txBody>
      </p:sp>
      <p:sp>
        <p:nvSpPr>
          <p:cNvPr id="84" name="Google Shape;84;p1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85" name="Google Shape;85;p18"/>
          <p:cNvSpPr txBox="1">
            <a:spLocks noGrp="1"/>
          </p:cNvSpPr>
          <p:nvPr>
            <p:ph type="body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 lang="en-US" dirty="0"/>
          </a:p>
        </p:txBody>
      </p:sp>
      <p:sp>
        <p:nvSpPr>
          <p:cNvPr id="86" name="Google Shape;86;p18"/>
          <p:cNvSpPr txBox="1">
            <a:spLocks noGrp="1"/>
          </p:cNvSpPr>
          <p:nvPr>
            <p:ph type="body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87" name="Google Shape;87;p1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88" name="Google Shape;88;p1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569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7E8E05-C368-4AB3-AEDB-9DC684BFB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687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7E8E05-C368-4AB3-AEDB-9DC684BFB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Google Shape;91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92" name="Google Shape;92;p1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93" name="Google Shape;93;p1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18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7846C7-7065-453C-A372-30E4014D3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44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7846C7-7065-453C-A372-30E4014D3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" name="Google Shape;100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01" name="Google Shape;101;p21"/>
          <p:cNvSpPr txBox="1">
            <a:spLocks noGrp="1"/>
          </p:cNvSpPr>
          <p:nvPr>
            <p:ph type="body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507987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82588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800"/>
            </a:lvl2pPr>
            <a:lvl3pPr marL="1828754" lvl="2" indent="-4571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4pPr>
            <a:lvl5pPr marL="3047924" lvl="4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5pPr>
            <a:lvl6pPr marL="3657509" lvl="5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6pPr>
            <a:lvl7pPr marL="4267093" lvl="6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7pPr>
            <a:lvl8pPr marL="4876678" lvl="7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8pPr>
            <a:lvl9pPr marL="5486263" lvl="8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9pPr>
          </a:lstStyle>
          <a:p>
            <a:endParaRPr lang="en-US" dirty="0"/>
          </a:p>
        </p:txBody>
      </p:sp>
      <p:sp>
        <p:nvSpPr>
          <p:cNvPr id="102" name="Google Shape;102;p21"/>
          <p:cNvSpPr txBox="1">
            <a:spLocks noGrp="1"/>
          </p:cNvSpPr>
          <p:nvPr>
            <p:ph type="body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 lang="en-US" dirty="0"/>
          </a:p>
        </p:txBody>
      </p:sp>
      <p:sp>
        <p:nvSpPr>
          <p:cNvPr id="103" name="Google Shape;103;p2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04" name="Google Shape;104;p2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05" name="Google Shape;105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46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04DBD7-5763-4AA4-AFEF-8187FD859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528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304DBD7-5763-4AA4-AFEF-8187FD859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7" name="Google Shape;107;p2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08" name="Google Shape;108;p22"/>
          <p:cNvSpPr>
            <a:spLocks noGrp="1"/>
          </p:cNvSpPr>
          <p:nvPr>
            <p:ph type="pic" idx="2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09" name="Google Shape;109;p22"/>
          <p:cNvSpPr txBox="1">
            <a:spLocks noGrp="1"/>
          </p:cNvSpPr>
          <p:nvPr>
            <p:ph type="body" idx="1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 lang="en-US" dirty="0"/>
          </a:p>
        </p:txBody>
      </p:sp>
      <p:sp>
        <p:nvSpPr>
          <p:cNvPr id="110" name="Google Shape;110;p2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1" name="Google Shape;111;p2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2" name="Google Shape;112;p2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66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4ACF4EE-09BB-4D3C-93FB-95774AEEEC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201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4ACF4EE-09BB-4D3C-93FB-95774AEEEC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46128" y="1122363"/>
            <a:ext cx="5635572" cy="2306637"/>
          </a:xfrm>
        </p:spPr>
        <p:txBody>
          <a:bodyPr vert="horz" anchor="b">
            <a:normAutofit/>
          </a:bodyPr>
          <a:lstStyle>
            <a:lvl1pPr algn="l" rtl="0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46128" y="3429000"/>
            <a:ext cx="5635572" cy="1828800"/>
          </a:xfrm>
        </p:spPr>
        <p:txBody>
          <a:bodyPr>
            <a:normAutofit/>
          </a:bodyPr>
          <a:lstStyle>
            <a:lvl1pPr marL="0" indent="0" algn="l" rtl="0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346128" y="6140449"/>
            <a:ext cx="2743200" cy="3651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6A32AA-88BF-9946-B673-EEC5F9F0FAD2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6709025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57B599A-4936-2C4F-A75A-845A1C3537C4}"/>
              </a:ext>
            </a:extLst>
          </p:cNvPr>
          <p:cNvSpPr>
            <a:spLocks noGrp="1"/>
          </p:cNvSpPr>
          <p:nvPr>
            <p:ph type="pic" sz="quarter" idx="11"/>
            <p:custDataLst>
              <p:tags r:id="rId6"/>
            </p:custDataLst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0601C7B5-A665-41A6-B2FD-28AD16A7C57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354" y="286439"/>
            <a:ext cx="2785246" cy="62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41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541787-23A7-42A7-8F4C-4EAA70F4EB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445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541787-23A7-42A7-8F4C-4EAA70F4E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Google Shape;114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5" name="Google Shape;115;p2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5"/>
            <a:ext cx="4351339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116" name="Google Shape;116;p2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7" name="Google Shape;117;p2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18" name="Google Shape;118;p2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88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34A1471-9A53-41B4-9E68-5A76B7209E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3275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34A1471-9A53-41B4-9E68-5A76B7209E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Google Shape;120;p2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21" name="Google Shape;121;p2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9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 lang="en-US" dirty="0"/>
          </a:p>
        </p:txBody>
      </p:sp>
      <p:sp>
        <p:nvSpPr>
          <p:cNvPr id="122" name="Google Shape;122;p2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23" name="Google Shape;123;p2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lang="en-US" dirty="0"/>
          </a:p>
        </p:txBody>
      </p:sp>
      <p:sp>
        <p:nvSpPr>
          <p:cNvPr id="124" name="Google Shape;124;p2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601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2022384-6BFC-4777-9FC9-B61FF59FE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117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2022384-6BFC-4777-9FC9-B61FF59FE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876DE1-3015-619A-D2CC-B5FE77F12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430D4B-3574-16AC-55FF-08C681649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0FC70E-2014-5F25-4158-2EB43A4BD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CE63385-D3C0-4447-BF1D-2ADCDCABB5F6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B99269-F249-922F-3AB7-90340D445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19B58-9FBC-F5CA-76C7-646E04D37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86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E84F87-74D7-4681-ABA6-88AC689700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901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E84F87-74D7-4681-ABA6-88AC689700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11502972" cy="2306637"/>
          </a:xfrm>
        </p:spPr>
        <p:txBody>
          <a:bodyPr vert="horz" anchor="b">
            <a:normAutofit/>
          </a:bodyPr>
          <a:lstStyle>
            <a:lvl1pPr algn="l"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11502972" cy="1828800"/>
          </a:xfrm>
        </p:spPr>
        <p:txBody>
          <a:bodyPr/>
          <a:lstStyle>
            <a:lvl1pPr marL="0" indent="0" algn="l" rtl="0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6128" y="6140450"/>
            <a:ext cx="2743200" cy="3651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8CAC4E0-BAED-4092-87B9-BA9EC3CCF1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28" y="239715"/>
            <a:ext cx="2920253" cy="80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686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0587351-5A91-43E8-BEAE-DF95CC161F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4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0587351-5A91-43E8-BEAE-DF95CC161F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6FCF88-57DB-F246-8D24-D73392F71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9" y="352425"/>
            <a:ext cx="11502972" cy="752475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1718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FD41C01-46E7-4923-9465-5F20C657B5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7983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FD41C01-46E7-4923-9465-5F20C657B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5635572" cy="2306637"/>
          </a:xfrm>
        </p:spPr>
        <p:txBody>
          <a:bodyPr vert="horz" anchor="b">
            <a:normAutofit/>
          </a:bodyPr>
          <a:lstStyle>
            <a:lvl1pPr algn="l" rtl="0"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5635572" cy="1828800"/>
          </a:xfrm>
        </p:spPr>
        <p:txBody>
          <a:bodyPr>
            <a:normAutofit/>
          </a:bodyPr>
          <a:lstStyle>
            <a:lvl1pPr marL="0" indent="0" algn="l" rtl="0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6128" y="6140450"/>
            <a:ext cx="2743200" cy="365125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6A32AA-88BF-9946-B673-EEC5F9F0FAD2}"/>
              </a:ext>
            </a:extLst>
          </p:cNvPr>
          <p:cNvSpPr/>
          <p:nvPr userDrawn="1"/>
        </p:nvSpPr>
        <p:spPr>
          <a:xfrm>
            <a:off x="0" y="6709026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57B599A-4936-2C4F-A75A-845A1C3537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7FB777F0-5440-4EFB-B933-B52970988A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29" y="544123"/>
            <a:ext cx="2110201" cy="57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410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B6DBFFA-9D4E-4E89-A544-B1B8D30E77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732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B6DBFFA-9D4E-4E89-A544-B1B8D30E77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11502972" cy="2306637"/>
          </a:xfrm>
        </p:spPr>
        <p:txBody>
          <a:bodyPr vert="horz" anchor="b">
            <a:normAutofit/>
          </a:bodyPr>
          <a:lstStyle>
            <a:lvl1pPr algn="ctr"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11502972" cy="1828800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140450"/>
            <a:ext cx="2743200" cy="365125"/>
          </a:xfrm>
        </p:spPr>
        <p:txBody>
          <a:bodyPr/>
          <a:lstStyle>
            <a:lvl1pPr algn="ctr"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F3B32FFB-F1F4-0A4A-9820-8A7C79CE86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467351" y="352427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089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753E748-9813-4551-83CE-437158DCBD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445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753E748-9813-4551-83CE-437158DCBD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129" y="352425"/>
            <a:ext cx="11502972" cy="752475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129" y="2070101"/>
            <a:ext cx="11502972" cy="3644900"/>
          </a:xfrm>
        </p:spPr>
        <p:txBody>
          <a:bodyPr/>
          <a:lstStyle>
            <a:lvl1pPr marL="0" indent="0" rtl="0">
              <a:buNone/>
              <a:defRPr/>
            </a:lvl1pPr>
            <a:lvl2pPr marL="173034" indent="-161921" rtl="0">
              <a:tabLst/>
              <a:defRPr/>
            </a:lvl2pPr>
            <a:lvl3pPr marL="403215" indent="-173034" rtl="0">
              <a:tabLst/>
              <a:defRPr/>
            </a:lvl3pPr>
            <a:lvl4pPr marL="633397" indent="-173034" rtl="0">
              <a:tabLst/>
              <a:defRPr/>
            </a:lvl4pPr>
            <a:lvl5pPr marL="865166" indent="-173034" rtl="0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4E3C43-308C-0F47-83D9-E1DC1DC25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9" y="1114425"/>
            <a:ext cx="11503079" cy="752475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990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031F39D-E81F-4093-BCD0-A71BF67EB5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336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031F39D-E81F-4093-BCD0-A71BF67EB5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1709738"/>
            <a:ext cx="11487151" cy="1719263"/>
          </a:xfrm>
        </p:spPr>
        <p:txBody>
          <a:bodyPr vert="horz" anchor="b">
            <a:normAutofit/>
          </a:bodyPr>
          <a:lstStyle>
            <a:lvl1pPr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129" y="3429002"/>
            <a:ext cx="11502972" cy="1719261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CA0D1638-E465-4847-88FD-FBE4F1ED3C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46129" y="352427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2E2D94-B69D-4862-B7BE-AEBEF515C2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19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2E2D94-B69D-4862-B7BE-AEBEF515C2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38F2A7-F31F-B94F-9E6F-52B3CA06254F}"/>
              </a:ext>
            </a:extLst>
          </p:cNvPr>
          <p:cNvSpPr/>
          <p:nvPr userDrawn="1"/>
        </p:nvSpPr>
        <p:spPr>
          <a:xfrm>
            <a:off x="0" y="6709026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A115859-C9C7-414D-9B2B-2BAD989305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F7D5221-6BAB-AC41-AD9E-61F7A3F53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129" y="2070101"/>
            <a:ext cx="5635572" cy="364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50391A-7A93-A145-9F12-E338CF0354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8" y="1114425"/>
            <a:ext cx="5635624" cy="752475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E8E72DE-CA81-4147-AF6D-B7A1FC32C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9" y="352425"/>
            <a:ext cx="5635572" cy="752475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423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1F0A67E-DDCD-47B3-8353-124CD89804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470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1F0A67E-DDCD-47B3-8353-124CD89804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346128" y="1122363"/>
            <a:ext cx="11502972" cy="2306637"/>
          </a:xfrm>
        </p:spPr>
        <p:txBody>
          <a:bodyPr vert="horz" anchor="b">
            <a:normAutofit/>
          </a:bodyPr>
          <a:lstStyle>
            <a:lvl1pPr algn="ctr"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46128" y="3429000"/>
            <a:ext cx="11502972" cy="1828800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>
          <a:xfrm>
            <a:off x="4724400" y="6140449"/>
            <a:ext cx="2743200" cy="365125"/>
          </a:xfrm>
        </p:spPr>
        <p:txBody>
          <a:bodyPr/>
          <a:lstStyle>
            <a:lvl1pPr algn="ctr"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EC0808B8-9594-451F-8A99-C5622BA2AA6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8874" y="352426"/>
            <a:ext cx="2785246" cy="62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349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8EF0CB7-997D-4450-B9EA-550C720DA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431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8EF0CB7-997D-4450-B9EA-550C720DA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2C376D8-06CF-B049-9BB5-F47F043BD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129" y="2070101"/>
            <a:ext cx="5635572" cy="364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3AC2ABC-B0E7-C14B-906A-3431A0588B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8" y="1114425"/>
            <a:ext cx="5635624" cy="752475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208E110-EE34-6D48-8D13-8DFA7264E6F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069" y="2070101"/>
            <a:ext cx="5635572" cy="364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EB41E19-0E66-1A49-B0E5-2B8A1BE167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6068" y="1114425"/>
            <a:ext cx="5635624" cy="752475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ED4E46-84B2-1C4B-9747-0D6C22B10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8" y="352425"/>
            <a:ext cx="11515512" cy="752475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8865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0A38C0D-E54A-4C33-A3C9-23677E728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813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0A38C0D-E54A-4C33-A3C9-23677E728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43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8EEFCD-63C6-4323-A4B7-84D574A18E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860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8EEFCD-63C6-4323-A4B7-84D574A18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79D00CE-E8CD-4619-A325-A400D9010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39F6DF-C919-41AE-B628-AE1A6E6717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BF422E-2C6A-4143-8371-32D53E030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24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ECF9A4-B262-44FB-8C90-FA3B2F421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643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ECF9A4-B262-44FB-8C90-FA3B2F421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 person playing a guitar&#10;&#10;Description automatically generated with low confidence">
            <a:extLst>
              <a:ext uri="{FF2B5EF4-FFF2-40B4-BE49-F238E27FC236}">
                <a16:creationId xmlns:a16="http://schemas.microsoft.com/office/drawing/2014/main" id="{ED131E25-F952-4CD9-823B-CAD18937EB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91" b="33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B7DAA9E3-7828-4DA8-BEE0-84651C1C40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5057"/>
            <a:ext cx="12192000" cy="6858000"/>
          </a:xfrm>
          <a:custGeom>
            <a:avLst/>
            <a:gdLst>
              <a:gd name="connsiteX0" fmla="*/ 9655124 w 12192000"/>
              <a:gd name="connsiteY0" fmla="*/ 5071668 h 6858000"/>
              <a:gd name="connsiteX1" fmla="*/ 9611886 w 12192000"/>
              <a:gd name="connsiteY1" fmla="*/ 5114906 h 6858000"/>
              <a:gd name="connsiteX2" fmla="*/ 9655124 w 12192000"/>
              <a:gd name="connsiteY2" fmla="*/ 5158145 h 6858000"/>
              <a:gd name="connsiteX3" fmla="*/ 9698363 w 12192000"/>
              <a:gd name="connsiteY3" fmla="*/ 5114906 h 6858000"/>
              <a:gd name="connsiteX4" fmla="*/ 9655124 w 12192000"/>
              <a:gd name="connsiteY4" fmla="*/ 5071668 h 6858000"/>
              <a:gd name="connsiteX5" fmla="*/ 9486976 w 12192000"/>
              <a:gd name="connsiteY5" fmla="*/ 4998003 h 6858000"/>
              <a:gd name="connsiteX6" fmla="*/ 9468559 w 12192000"/>
              <a:gd name="connsiteY6" fmla="*/ 5029231 h 6858000"/>
              <a:gd name="connsiteX7" fmla="*/ 9434129 w 12192000"/>
              <a:gd name="connsiteY7" fmla="*/ 5042843 h 6858000"/>
              <a:gd name="connsiteX8" fmla="*/ 9377278 w 12192000"/>
              <a:gd name="connsiteY8" fmla="*/ 5110903 h 6858000"/>
              <a:gd name="connsiteX9" fmla="*/ 9290001 w 12192000"/>
              <a:gd name="connsiteY9" fmla="*/ 5153341 h 6858000"/>
              <a:gd name="connsiteX10" fmla="*/ 9261976 w 12192000"/>
              <a:gd name="connsiteY10" fmla="*/ 5199782 h 6858000"/>
              <a:gd name="connsiteX11" fmla="*/ 9267581 w 12192000"/>
              <a:gd name="connsiteY11" fmla="*/ 5232611 h 6858000"/>
              <a:gd name="connsiteX12" fmla="*/ 9269182 w 12192000"/>
              <a:gd name="connsiteY12" fmla="*/ 5307077 h 6858000"/>
              <a:gd name="connsiteX13" fmla="*/ 9255571 w 12192000"/>
              <a:gd name="connsiteY13" fmla="*/ 5349514 h 6858000"/>
              <a:gd name="connsiteX14" fmla="*/ 9237955 w 12192000"/>
              <a:gd name="connsiteY14" fmla="*/ 5359123 h 6858000"/>
              <a:gd name="connsiteX15" fmla="*/ 9213133 w 12192000"/>
              <a:gd name="connsiteY15" fmla="*/ 5397557 h 6858000"/>
              <a:gd name="connsiteX16" fmla="*/ 9224343 w 12192000"/>
              <a:gd name="connsiteY16" fmla="*/ 5452806 h 6858000"/>
              <a:gd name="connsiteX17" fmla="*/ 9220339 w 12192000"/>
              <a:gd name="connsiteY17" fmla="*/ 5496044 h 6858000"/>
              <a:gd name="connsiteX18" fmla="*/ 9255571 w 12192000"/>
              <a:gd name="connsiteY18" fmla="*/ 5541685 h 6858000"/>
              <a:gd name="connsiteX19" fmla="*/ 9298809 w 12192000"/>
              <a:gd name="connsiteY19" fmla="*/ 5534478 h 6858000"/>
              <a:gd name="connsiteX20" fmla="*/ 9322830 w 12192000"/>
              <a:gd name="connsiteY20" fmla="*/ 5534478 h 6858000"/>
              <a:gd name="connsiteX21" fmla="*/ 9345250 w 12192000"/>
              <a:gd name="connsiteY21" fmla="*/ 5516062 h 6858000"/>
              <a:gd name="connsiteX22" fmla="*/ 9354859 w 12192000"/>
              <a:gd name="connsiteY22" fmla="*/ 5481632 h 6858000"/>
              <a:gd name="connsiteX23" fmla="*/ 9370873 w 12192000"/>
              <a:gd name="connsiteY23" fmla="*/ 5462415 h 6858000"/>
              <a:gd name="connsiteX24" fmla="*/ 9435730 w 12192000"/>
              <a:gd name="connsiteY24" fmla="*/ 5324692 h 6858000"/>
              <a:gd name="connsiteX25" fmla="*/ 9442937 w 12192000"/>
              <a:gd name="connsiteY25" fmla="*/ 5293465 h 6858000"/>
              <a:gd name="connsiteX26" fmla="*/ 9462154 w 12192000"/>
              <a:gd name="connsiteY26" fmla="*/ 5255031 h 6858000"/>
              <a:gd name="connsiteX27" fmla="*/ 9471762 w 12192000"/>
              <a:gd name="connsiteY27" fmla="*/ 5211792 h 6858000"/>
              <a:gd name="connsiteX28" fmla="*/ 9494983 w 12192000"/>
              <a:gd name="connsiteY28" fmla="*/ 5184568 h 6858000"/>
              <a:gd name="connsiteX29" fmla="*/ 9494182 w 12192000"/>
              <a:gd name="connsiteY29" fmla="*/ 5138928 h 6858000"/>
              <a:gd name="connsiteX30" fmla="*/ 9516602 w 12192000"/>
              <a:gd name="connsiteY30" fmla="*/ 5131721 h 6858000"/>
              <a:gd name="connsiteX31" fmla="*/ 9506193 w 12192000"/>
              <a:gd name="connsiteY31" fmla="*/ 5026028 h 6858000"/>
              <a:gd name="connsiteX32" fmla="*/ 9486976 w 12192000"/>
              <a:gd name="connsiteY32" fmla="*/ 4998003 h 6858000"/>
              <a:gd name="connsiteX33" fmla="*/ 9177902 w 12192000"/>
              <a:gd name="connsiteY33" fmla="*/ 4942753 h 6858000"/>
              <a:gd name="connsiteX34" fmla="*/ 9155482 w 12192000"/>
              <a:gd name="connsiteY34" fmla="*/ 4963571 h 6858000"/>
              <a:gd name="connsiteX35" fmla="*/ 8892049 w 12192000"/>
              <a:gd name="connsiteY35" fmla="*/ 5271044 h 6858000"/>
              <a:gd name="connsiteX36" fmla="*/ 8863223 w 12192000"/>
              <a:gd name="connsiteY36" fmla="*/ 5312681 h 6858000"/>
              <a:gd name="connsiteX37" fmla="*/ 8835999 w 12192000"/>
              <a:gd name="connsiteY37" fmla="*/ 5355118 h 6858000"/>
              <a:gd name="connsiteX38" fmla="*/ 8809575 w 12192000"/>
              <a:gd name="connsiteY38" fmla="*/ 5398357 h 6858000"/>
              <a:gd name="connsiteX39" fmla="*/ 8796764 w 12192000"/>
              <a:gd name="connsiteY39" fmla="*/ 5419976 h 6858000"/>
              <a:gd name="connsiteX40" fmla="*/ 8784753 w 12192000"/>
              <a:gd name="connsiteY40" fmla="*/ 5442396 h 6858000"/>
              <a:gd name="connsiteX41" fmla="*/ 8759932 w 12192000"/>
              <a:gd name="connsiteY41" fmla="*/ 5486435 h 6858000"/>
              <a:gd name="connsiteX42" fmla="*/ 8736711 w 12192000"/>
              <a:gd name="connsiteY42" fmla="*/ 5531275 h 6858000"/>
              <a:gd name="connsiteX43" fmla="*/ 8714291 w 12192000"/>
              <a:gd name="connsiteY43" fmla="*/ 5576915 h 6858000"/>
              <a:gd name="connsiteX44" fmla="*/ 8703081 w 12192000"/>
              <a:gd name="connsiteY44" fmla="*/ 5600136 h 6858000"/>
              <a:gd name="connsiteX45" fmla="*/ 8692672 w 12192000"/>
              <a:gd name="connsiteY45" fmla="*/ 5623356 h 6858000"/>
              <a:gd name="connsiteX46" fmla="*/ 8595786 w 12192000"/>
              <a:gd name="connsiteY46" fmla="*/ 5879583 h 6858000"/>
              <a:gd name="connsiteX47" fmla="*/ 9001746 w 12192000"/>
              <a:gd name="connsiteY47" fmla="*/ 5471221 h 6858000"/>
              <a:gd name="connsiteX48" fmla="*/ 9129059 w 12192000"/>
              <a:gd name="connsiteY48" fmla="*/ 5175759 h 6858000"/>
              <a:gd name="connsiteX49" fmla="*/ 9177902 w 12192000"/>
              <a:gd name="connsiteY49" fmla="*/ 4942753 h 6858000"/>
              <a:gd name="connsiteX50" fmla="*/ 8950500 w 12192000"/>
              <a:gd name="connsiteY50" fmla="*/ 4845067 h 6858000"/>
              <a:gd name="connsiteX51" fmla="*/ 8932884 w 12192000"/>
              <a:gd name="connsiteY51" fmla="*/ 4864284 h 6858000"/>
              <a:gd name="connsiteX52" fmla="*/ 8921674 w 12192000"/>
              <a:gd name="connsiteY52" fmla="*/ 4875494 h 6858000"/>
              <a:gd name="connsiteX53" fmla="*/ 8910464 w 12192000"/>
              <a:gd name="connsiteY53" fmla="*/ 4886704 h 6858000"/>
              <a:gd name="connsiteX54" fmla="*/ 8888845 w 12192000"/>
              <a:gd name="connsiteY54" fmla="*/ 4909124 h 6858000"/>
              <a:gd name="connsiteX55" fmla="*/ 8867226 w 12192000"/>
              <a:gd name="connsiteY55" fmla="*/ 4931544 h 6858000"/>
              <a:gd name="connsiteX56" fmla="*/ 8845607 w 12192000"/>
              <a:gd name="connsiteY56" fmla="*/ 4953963 h 6858000"/>
              <a:gd name="connsiteX57" fmla="*/ 8823988 w 12192000"/>
              <a:gd name="connsiteY57" fmla="*/ 4976383 h 6858000"/>
              <a:gd name="connsiteX58" fmla="*/ 8813578 w 12192000"/>
              <a:gd name="connsiteY58" fmla="*/ 4987593 h 6858000"/>
              <a:gd name="connsiteX59" fmla="*/ 8803169 w 12192000"/>
              <a:gd name="connsiteY59" fmla="*/ 4999604 h 6858000"/>
              <a:gd name="connsiteX60" fmla="*/ 8761532 w 12192000"/>
              <a:gd name="connsiteY60" fmla="*/ 5046045 h 6858000"/>
              <a:gd name="connsiteX61" fmla="*/ 8721497 w 12192000"/>
              <a:gd name="connsiteY61" fmla="*/ 5094088 h 6858000"/>
              <a:gd name="connsiteX62" fmla="*/ 8683063 w 12192000"/>
              <a:gd name="connsiteY62" fmla="*/ 5142931 h 6858000"/>
              <a:gd name="connsiteX63" fmla="*/ 8663846 w 12192000"/>
              <a:gd name="connsiteY63" fmla="*/ 5167753 h 6858000"/>
              <a:gd name="connsiteX64" fmla="*/ 8645429 w 12192000"/>
              <a:gd name="connsiteY64" fmla="*/ 5192575 h 6858000"/>
              <a:gd name="connsiteX65" fmla="*/ 8509309 w 12192000"/>
              <a:gd name="connsiteY65" fmla="*/ 5400760 h 6858000"/>
              <a:gd name="connsiteX66" fmla="*/ 8478882 w 12192000"/>
              <a:gd name="connsiteY66" fmla="*/ 5455208 h 6858000"/>
              <a:gd name="connsiteX67" fmla="*/ 8450857 w 12192000"/>
              <a:gd name="connsiteY67" fmla="*/ 5511257 h 6858000"/>
              <a:gd name="connsiteX68" fmla="*/ 8424433 w 12192000"/>
              <a:gd name="connsiteY68" fmla="*/ 5568108 h 6858000"/>
              <a:gd name="connsiteX69" fmla="*/ 8411622 w 12192000"/>
              <a:gd name="connsiteY69" fmla="*/ 5596933 h 6858000"/>
              <a:gd name="connsiteX70" fmla="*/ 8405216 w 12192000"/>
              <a:gd name="connsiteY70" fmla="*/ 5611346 h 6858000"/>
              <a:gd name="connsiteX71" fmla="*/ 8399611 w 12192000"/>
              <a:gd name="connsiteY71" fmla="*/ 5625759 h 6858000"/>
              <a:gd name="connsiteX72" fmla="*/ 8367583 w 12192000"/>
              <a:gd name="connsiteY72" fmla="*/ 5710634 h 6858000"/>
              <a:gd name="connsiteX73" fmla="*/ 8387601 w 12192000"/>
              <a:gd name="connsiteY73" fmla="*/ 5745065 h 6858000"/>
              <a:gd name="connsiteX74" fmla="*/ 8482885 w 12192000"/>
              <a:gd name="connsiteY74" fmla="*/ 5901203 h 6858000"/>
              <a:gd name="connsiteX75" fmla="*/ 8568561 w 12192000"/>
              <a:gd name="connsiteY75" fmla="*/ 5887591 h 6858000"/>
              <a:gd name="connsiteX76" fmla="*/ 8639824 w 12192000"/>
              <a:gd name="connsiteY76" fmla="*/ 5604941 h 6858000"/>
              <a:gd name="connsiteX77" fmla="*/ 8723899 w 12192000"/>
              <a:gd name="connsiteY77" fmla="*/ 5411969 h 6858000"/>
              <a:gd name="connsiteX78" fmla="*/ 8735910 w 12192000"/>
              <a:gd name="connsiteY78" fmla="*/ 5388749 h 6858000"/>
              <a:gd name="connsiteX79" fmla="*/ 8748721 w 12192000"/>
              <a:gd name="connsiteY79" fmla="*/ 5365528 h 6858000"/>
              <a:gd name="connsiteX80" fmla="*/ 8775144 w 12192000"/>
              <a:gd name="connsiteY80" fmla="*/ 5319888 h 6858000"/>
              <a:gd name="connsiteX81" fmla="*/ 8832795 w 12192000"/>
              <a:gd name="connsiteY81" fmla="*/ 5231810 h 6858000"/>
              <a:gd name="connsiteX82" fmla="*/ 9117047 w 12192000"/>
              <a:gd name="connsiteY82" fmla="*/ 4923536 h 6858000"/>
              <a:gd name="connsiteX83" fmla="*/ 9159485 w 12192000"/>
              <a:gd name="connsiteY83" fmla="*/ 4889106 h 6858000"/>
              <a:gd name="connsiteX84" fmla="*/ 9145072 w 12192000"/>
              <a:gd name="connsiteY84" fmla="*/ 4845067 h 6858000"/>
              <a:gd name="connsiteX85" fmla="*/ 8306729 w 12192000"/>
              <a:gd name="connsiteY85" fmla="*/ 4646491 h 6858000"/>
              <a:gd name="connsiteX86" fmla="*/ 8284309 w 12192000"/>
              <a:gd name="connsiteY86" fmla="*/ 4675316 h 6858000"/>
              <a:gd name="connsiteX87" fmla="*/ 8273100 w 12192000"/>
              <a:gd name="connsiteY87" fmla="*/ 4689729 h 6858000"/>
              <a:gd name="connsiteX88" fmla="*/ 8262690 w 12192000"/>
              <a:gd name="connsiteY88" fmla="*/ 4704142 h 6858000"/>
              <a:gd name="connsiteX89" fmla="*/ 8209043 w 12192000"/>
              <a:gd name="connsiteY89" fmla="*/ 4782612 h 6858000"/>
              <a:gd name="connsiteX90" fmla="*/ 8194630 w 12192000"/>
              <a:gd name="connsiteY90" fmla="*/ 5239016 h 6858000"/>
              <a:gd name="connsiteX91" fmla="*/ 8231463 w 12192000"/>
              <a:gd name="connsiteY91" fmla="*/ 5312682 h 6858000"/>
              <a:gd name="connsiteX92" fmla="*/ 8319541 w 12192000"/>
              <a:gd name="connsiteY92" fmla="*/ 5076472 h 6858000"/>
              <a:gd name="connsiteX93" fmla="*/ 8450057 w 12192000"/>
              <a:gd name="connsiteY93" fmla="*/ 4845067 h 6858000"/>
              <a:gd name="connsiteX94" fmla="*/ 8363580 w 12192000"/>
              <a:gd name="connsiteY94" fmla="*/ 4845067 h 6858000"/>
              <a:gd name="connsiteX95" fmla="*/ 8800768 w 12192000"/>
              <a:gd name="connsiteY95" fmla="*/ 4626473 h 6858000"/>
              <a:gd name="connsiteX96" fmla="*/ 8751124 w 12192000"/>
              <a:gd name="connsiteY96" fmla="*/ 4845867 h 6858000"/>
              <a:gd name="connsiteX97" fmla="*/ 8530929 w 12192000"/>
              <a:gd name="connsiteY97" fmla="*/ 4845867 h 6858000"/>
              <a:gd name="connsiteX98" fmla="*/ 8367584 w 12192000"/>
              <a:gd name="connsiteY98" fmla="*/ 5101294 h 6858000"/>
              <a:gd name="connsiteX99" fmla="*/ 8251481 w 12192000"/>
              <a:gd name="connsiteY99" fmla="*/ 5367129 h 6858000"/>
              <a:gd name="connsiteX100" fmla="*/ 8350769 w 12192000"/>
              <a:gd name="connsiteY100" fmla="*/ 5676204 h 6858000"/>
              <a:gd name="connsiteX101" fmla="*/ 8368385 w 12192000"/>
              <a:gd name="connsiteY101" fmla="*/ 5613748 h 6858000"/>
              <a:gd name="connsiteX102" fmla="*/ 8372388 w 12192000"/>
              <a:gd name="connsiteY102" fmla="*/ 5598535 h 6858000"/>
              <a:gd name="connsiteX103" fmla="*/ 8377192 w 12192000"/>
              <a:gd name="connsiteY103" fmla="*/ 5583321 h 6858000"/>
              <a:gd name="connsiteX104" fmla="*/ 8387602 w 12192000"/>
              <a:gd name="connsiteY104" fmla="*/ 5552894 h 6858000"/>
              <a:gd name="connsiteX105" fmla="*/ 8409221 w 12192000"/>
              <a:gd name="connsiteY105" fmla="*/ 5492841 h 6858000"/>
              <a:gd name="connsiteX106" fmla="*/ 8433242 w 12192000"/>
              <a:gd name="connsiteY106" fmla="*/ 5433589 h 6858000"/>
              <a:gd name="connsiteX107" fmla="*/ 8460466 w 12192000"/>
              <a:gd name="connsiteY107" fmla="*/ 5375937 h 6858000"/>
              <a:gd name="connsiteX108" fmla="*/ 8467673 w 12192000"/>
              <a:gd name="connsiteY108" fmla="*/ 5361525 h 6858000"/>
              <a:gd name="connsiteX109" fmla="*/ 8474879 w 12192000"/>
              <a:gd name="connsiteY109" fmla="*/ 5347112 h 6858000"/>
              <a:gd name="connsiteX110" fmla="*/ 8490093 w 12192000"/>
              <a:gd name="connsiteY110" fmla="*/ 5319087 h 6858000"/>
              <a:gd name="connsiteX111" fmla="*/ 8505306 w 12192000"/>
              <a:gd name="connsiteY111" fmla="*/ 5291062 h 6858000"/>
              <a:gd name="connsiteX112" fmla="*/ 8513313 w 12192000"/>
              <a:gd name="connsiteY112" fmla="*/ 5276649 h 6858000"/>
              <a:gd name="connsiteX113" fmla="*/ 8521320 w 12192000"/>
              <a:gd name="connsiteY113" fmla="*/ 5263037 h 6858000"/>
              <a:gd name="connsiteX114" fmla="*/ 8554950 w 12192000"/>
              <a:gd name="connsiteY114" fmla="*/ 5208589 h 6858000"/>
              <a:gd name="connsiteX115" fmla="*/ 8590982 w 12192000"/>
              <a:gd name="connsiteY115" fmla="*/ 5154941 h 6858000"/>
              <a:gd name="connsiteX116" fmla="*/ 8750323 w 12192000"/>
              <a:gd name="connsiteY116" fmla="*/ 4953963 h 6858000"/>
              <a:gd name="connsiteX117" fmla="*/ 8760732 w 12192000"/>
              <a:gd name="connsiteY117" fmla="*/ 4941953 h 6858000"/>
              <a:gd name="connsiteX118" fmla="*/ 8771942 w 12192000"/>
              <a:gd name="connsiteY118" fmla="*/ 4929942 h 6858000"/>
              <a:gd name="connsiteX119" fmla="*/ 8794362 w 12192000"/>
              <a:gd name="connsiteY119" fmla="*/ 4906721 h 6858000"/>
              <a:gd name="connsiteX120" fmla="*/ 8816782 w 12192000"/>
              <a:gd name="connsiteY120" fmla="*/ 4883501 h 6858000"/>
              <a:gd name="connsiteX121" fmla="*/ 8839202 w 12192000"/>
              <a:gd name="connsiteY121" fmla="*/ 4861081 h 6858000"/>
              <a:gd name="connsiteX122" fmla="*/ 8854416 w 12192000"/>
              <a:gd name="connsiteY122" fmla="*/ 4845867 h 6858000"/>
              <a:gd name="connsiteX123" fmla="*/ 8850412 w 12192000"/>
              <a:gd name="connsiteY123" fmla="*/ 4845867 h 6858000"/>
              <a:gd name="connsiteX124" fmla="*/ 9876921 w 12192000"/>
              <a:gd name="connsiteY124" fmla="*/ 3917044 h 6858000"/>
              <a:gd name="connsiteX125" fmla="*/ 9876921 w 12192000"/>
              <a:gd name="connsiteY125" fmla="*/ 4769800 h 6858000"/>
              <a:gd name="connsiteX126" fmla="*/ 10134750 w 12192000"/>
              <a:gd name="connsiteY126" fmla="*/ 4769800 h 6858000"/>
              <a:gd name="connsiteX127" fmla="*/ 10134750 w 12192000"/>
              <a:gd name="connsiteY127" fmla="*/ 4337417 h 6858000"/>
              <a:gd name="connsiteX128" fmla="*/ 10449429 w 12192000"/>
              <a:gd name="connsiteY128" fmla="*/ 4769800 h 6858000"/>
              <a:gd name="connsiteX129" fmla="*/ 10697649 w 12192000"/>
              <a:gd name="connsiteY129" fmla="*/ 4769800 h 6858000"/>
              <a:gd name="connsiteX130" fmla="*/ 10697649 w 12192000"/>
              <a:gd name="connsiteY130" fmla="*/ 3917044 h 6858000"/>
              <a:gd name="connsiteX131" fmla="*/ 10439019 w 12192000"/>
              <a:gd name="connsiteY131" fmla="*/ 3917044 h 6858000"/>
              <a:gd name="connsiteX132" fmla="*/ 10439019 w 12192000"/>
              <a:gd name="connsiteY132" fmla="*/ 4320602 h 6858000"/>
              <a:gd name="connsiteX133" fmla="*/ 10142757 w 12192000"/>
              <a:gd name="connsiteY133" fmla="*/ 3917044 h 6858000"/>
              <a:gd name="connsiteX134" fmla="*/ 9480570 w 12192000"/>
              <a:gd name="connsiteY134" fmla="*/ 3917044 h 6858000"/>
              <a:gd name="connsiteX135" fmla="*/ 9480570 w 12192000"/>
              <a:gd name="connsiteY135" fmla="*/ 4769800 h 6858000"/>
              <a:gd name="connsiteX136" fmla="*/ 9739199 w 12192000"/>
              <a:gd name="connsiteY136" fmla="*/ 4769800 h 6858000"/>
              <a:gd name="connsiteX137" fmla="*/ 9739199 w 12192000"/>
              <a:gd name="connsiteY137" fmla="*/ 3917044 h 6858000"/>
              <a:gd name="connsiteX138" fmla="*/ 8176214 w 12192000"/>
              <a:gd name="connsiteY138" fmla="*/ 3917044 h 6858000"/>
              <a:gd name="connsiteX139" fmla="*/ 8420430 w 12192000"/>
              <a:gd name="connsiteY139" fmla="*/ 4769800 h 6858000"/>
              <a:gd name="connsiteX140" fmla="*/ 8691871 w 12192000"/>
              <a:gd name="connsiteY140" fmla="*/ 4769800 h 6858000"/>
              <a:gd name="connsiteX141" fmla="*/ 8801568 w 12192000"/>
              <a:gd name="connsiteY141" fmla="*/ 4286171 h 6858000"/>
              <a:gd name="connsiteX142" fmla="*/ 8911266 w 12192000"/>
              <a:gd name="connsiteY142" fmla="*/ 4769800 h 6858000"/>
              <a:gd name="connsiteX143" fmla="*/ 9182706 w 12192000"/>
              <a:gd name="connsiteY143" fmla="*/ 4769800 h 6858000"/>
              <a:gd name="connsiteX144" fmla="*/ 9426923 w 12192000"/>
              <a:gd name="connsiteY144" fmla="*/ 3917044 h 6858000"/>
              <a:gd name="connsiteX145" fmla="*/ 9136265 w 12192000"/>
              <a:gd name="connsiteY145" fmla="*/ 3917044 h 6858000"/>
              <a:gd name="connsiteX146" fmla="*/ 9027368 w 12192000"/>
              <a:gd name="connsiteY146" fmla="*/ 4438306 h 6858000"/>
              <a:gd name="connsiteX147" fmla="*/ 8898454 w 12192000"/>
              <a:gd name="connsiteY147" fmla="*/ 3917044 h 6858000"/>
              <a:gd name="connsiteX148" fmla="*/ 8704682 w 12192000"/>
              <a:gd name="connsiteY148" fmla="*/ 3917044 h 6858000"/>
              <a:gd name="connsiteX149" fmla="*/ 8574967 w 12192000"/>
              <a:gd name="connsiteY149" fmla="*/ 4438306 h 6858000"/>
              <a:gd name="connsiteX150" fmla="*/ 8465270 w 12192000"/>
              <a:gd name="connsiteY150" fmla="*/ 3917044 h 6858000"/>
              <a:gd name="connsiteX151" fmla="*/ 11152452 w 12192000"/>
              <a:gd name="connsiteY151" fmla="*/ 3905033 h 6858000"/>
              <a:gd name="connsiteX152" fmla="*/ 10892221 w 12192000"/>
              <a:gd name="connsiteY152" fmla="*/ 3988307 h 6858000"/>
              <a:gd name="connsiteX153" fmla="*/ 10798538 w 12192000"/>
              <a:gd name="connsiteY153" fmla="*/ 4187684 h 6858000"/>
              <a:gd name="connsiteX154" fmla="*/ 10847381 w 12192000"/>
              <a:gd name="connsiteY154" fmla="*/ 4342221 h 6858000"/>
              <a:gd name="connsiteX155" fmla="*/ 10966687 w 12192000"/>
              <a:gd name="connsiteY155" fmla="*/ 4427897 h 6858000"/>
              <a:gd name="connsiteX156" fmla="*/ 11106010 w 12192000"/>
              <a:gd name="connsiteY156" fmla="*/ 4464729 h 6858000"/>
              <a:gd name="connsiteX157" fmla="*/ 11225316 w 12192000"/>
              <a:gd name="connsiteY157" fmla="*/ 4488751 h 6858000"/>
              <a:gd name="connsiteX158" fmla="*/ 11274159 w 12192000"/>
              <a:gd name="connsiteY158" fmla="*/ 4522380 h 6858000"/>
              <a:gd name="connsiteX159" fmla="*/ 11179676 w 12192000"/>
              <a:gd name="connsiteY159" fmla="*/ 4568021 h 6858000"/>
              <a:gd name="connsiteX160" fmla="*/ 10905032 w 12192000"/>
              <a:gd name="connsiteY160" fmla="*/ 4458324 h 6858000"/>
              <a:gd name="connsiteX161" fmla="*/ 10770513 w 12192000"/>
              <a:gd name="connsiteY161" fmla="*/ 4650494 h 6858000"/>
              <a:gd name="connsiteX162" fmla="*/ 11166864 w 12192000"/>
              <a:gd name="connsiteY162" fmla="*/ 4785814 h 6858000"/>
              <a:gd name="connsiteX163" fmla="*/ 11437504 w 12192000"/>
              <a:gd name="connsiteY163" fmla="*/ 4707344 h 6858000"/>
              <a:gd name="connsiteX164" fmla="*/ 11535191 w 12192000"/>
              <a:gd name="connsiteY164" fmla="*/ 4488751 h 6858000"/>
              <a:gd name="connsiteX165" fmla="*/ 11499960 w 12192000"/>
              <a:gd name="connsiteY165" fmla="*/ 4360637 h 6858000"/>
              <a:gd name="connsiteX166" fmla="*/ 11412682 w 12192000"/>
              <a:gd name="connsiteY166" fmla="*/ 4280566 h 6858000"/>
              <a:gd name="connsiteX167" fmla="*/ 11298181 w 12192000"/>
              <a:gd name="connsiteY167" fmla="*/ 4236527 h 6858000"/>
              <a:gd name="connsiteX168" fmla="*/ 11183679 w 12192000"/>
              <a:gd name="connsiteY168" fmla="*/ 4210904 h 6858000"/>
              <a:gd name="connsiteX169" fmla="*/ 11096402 w 12192000"/>
              <a:gd name="connsiteY169" fmla="*/ 4190886 h 6858000"/>
              <a:gd name="connsiteX170" fmla="*/ 11061171 w 12192000"/>
              <a:gd name="connsiteY170" fmla="*/ 4160460 h 6858000"/>
              <a:gd name="connsiteX171" fmla="*/ 11126028 w 12192000"/>
              <a:gd name="connsiteY171" fmla="*/ 4122025 h 6858000"/>
              <a:gd name="connsiteX172" fmla="*/ 11376650 w 12192000"/>
              <a:gd name="connsiteY172" fmla="*/ 4206100 h 6858000"/>
              <a:gd name="connsiteX173" fmla="*/ 11514372 w 12192000"/>
              <a:gd name="connsiteY173" fmla="*/ 4023538 h 6858000"/>
              <a:gd name="connsiteX174" fmla="*/ 11152452 w 12192000"/>
              <a:gd name="connsiteY174" fmla="*/ 3905033 h 6858000"/>
              <a:gd name="connsiteX175" fmla="*/ 7221768 w 12192000"/>
              <a:gd name="connsiteY175" fmla="*/ 3876208 h 6858000"/>
              <a:gd name="connsiteX176" fmla="*/ 7204953 w 12192000"/>
              <a:gd name="connsiteY176" fmla="*/ 3911439 h 6858000"/>
              <a:gd name="connsiteX177" fmla="*/ 7483600 w 12192000"/>
              <a:gd name="connsiteY177" fmla="*/ 4337417 h 6858000"/>
              <a:gd name="connsiteX178" fmla="*/ 7670966 w 12192000"/>
              <a:gd name="connsiteY178" fmla="*/ 4334214 h 6858000"/>
              <a:gd name="connsiteX179" fmla="*/ 7936001 w 12192000"/>
              <a:gd name="connsiteY179" fmla="*/ 4286171 h 6858000"/>
              <a:gd name="connsiteX180" fmla="*/ 8100147 w 12192000"/>
              <a:gd name="connsiteY180" fmla="*/ 4537594 h 6858000"/>
              <a:gd name="connsiteX181" fmla="*/ 8180218 w 12192000"/>
              <a:gd name="connsiteY181" fmla="*/ 4707345 h 6858000"/>
              <a:gd name="connsiteX182" fmla="*/ 8208243 w 12192000"/>
              <a:gd name="connsiteY182" fmla="*/ 4665708 h 6858000"/>
              <a:gd name="connsiteX183" fmla="*/ 8219453 w 12192000"/>
              <a:gd name="connsiteY183" fmla="*/ 4649694 h 6858000"/>
              <a:gd name="connsiteX184" fmla="*/ 8230662 w 12192000"/>
              <a:gd name="connsiteY184" fmla="*/ 4634480 h 6858000"/>
              <a:gd name="connsiteX185" fmla="*/ 8253883 w 12192000"/>
              <a:gd name="connsiteY185" fmla="*/ 4604053 h 6858000"/>
              <a:gd name="connsiteX186" fmla="*/ 8284310 w 12192000"/>
              <a:gd name="connsiteY186" fmla="*/ 4567221 h 6858000"/>
              <a:gd name="connsiteX187" fmla="*/ 8168207 w 12192000"/>
              <a:gd name="connsiteY187" fmla="*/ 4160460 h 6858000"/>
              <a:gd name="connsiteX188" fmla="*/ 8138581 w 12192000"/>
              <a:gd name="connsiteY188" fmla="*/ 4163663 h 6858000"/>
              <a:gd name="connsiteX189" fmla="*/ 8099346 w 12192000"/>
              <a:gd name="connsiteY189" fmla="*/ 4167666 h 6858000"/>
              <a:gd name="connsiteX190" fmla="*/ 8060111 w 12192000"/>
              <a:gd name="connsiteY190" fmla="*/ 4170069 h 6858000"/>
              <a:gd name="connsiteX191" fmla="*/ 8040094 w 12192000"/>
              <a:gd name="connsiteY191" fmla="*/ 4170869 h 6858000"/>
              <a:gd name="connsiteX192" fmla="*/ 8020076 w 12192000"/>
              <a:gd name="connsiteY192" fmla="*/ 4170869 h 6858000"/>
              <a:gd name="connsiteX193" fmla="*/ 7980841 w 12192000"/>
              <a:gd name="connsiteY193" fmla="*/ 4170869 h 6858000"/>
              <a:gd name="connsiteX194" fmla="*/ 7823902 w 12192000"/>
              <a:gd name="connsiteY194" fmla="*/ 4157257 h 6858000"/>
              <a:gd name="connsiteX195" fmla="*/ 7804685 w 12192000"/>
              <a:gd name="connsiteY195" fmla="*/ 4154054 h 6858000"/>
              <a:gd name="connsiteX196" fmla="*/ 7785468 w 12192000"/>
              <a:gd name="connsiteY196" fmla="*/ 4150051 h 6858000"/>
              <a:gd name="connsiteX197" fmla="*/ 7747034 w 12192000"/>
              <a:gd name="connsiteY197" fmla="*/ 4142044 h 6858000"/>
              <a:gd name="connsiteX198" fmla="*/ 7670966 w 12192000"/>
              <a:gd name="connsiteY198" fmla="*/ 4122026 h 6858000"/>
              <a:gd name="connsiteX199" fmla="*/ 7523636 w 12192000"/>
              <a:gd name="connsiteY199" fmla="*/ 4067578 h 6858000"/>
              <a:gd name="connsiteX200" fmla="*/ 7385113 w 12192000"/>
              <a:gd name="connsiteY200" fmla="*/ 3995514 h 6858000"/>
              <a:gd name="connsiteX201" fmla="*/ 7257800 w 12192000"/>
              <a:gd name="connsiteY201" fmla="*/ 3906635 h 6858000"/>
              <a:gd name="connsiteX202" fmla="*/ 7221768 w 12192000"/>
              <a:gd name="connsiteY202" fmla="*/ 3876208 h 6858000"/>
              <a:gd name="connsiteX203" fmla="*/ 9182706 w 12192000"/>
              <a:gd name="connsiteY203" fmla="*/ 3736084 h 6858000"/>
              <a:gd name="connsiteX204" fmla="*/ 9188311 w 12192000"/>
              <a:gd name="connsiteY204" fmla="*/ 3768913 h 6858000"/>
              <a:gd name="connsiteX205" fmla="*/ 9234752 w 12192000"/>
              <a:gd name="connsiteY205" fmla="*/ 3775319 h 6858000"/>
              <a:gd name="connsiteX206" fmla="*/ 9241959 w 12192000"/>
              <a:gd name="connsiteY206" fmla="*/ 3775319 h 6858000"/>
              <a:gd name="connsiteX207" fmla="*/ 9229948 w 12192000"/>
              <a:gd name="connsiteY207" fmla="*/ 3767312 h 6858000"/>
              <a:gd name="connsiteX208" fmla="*/ 9182706 w 12192000"/>
              <a:gd name="connsiteY208" fmla="*/ 3736084 h 6858000"/>
              <a:gd name="connsiteX209" fmla="*/ 9190713 w 12192000"/>
              <a:gd name="connsiteY209" fmla="*/ 3701653 h 6858000"/>
              <a:gd name="connsiteX210" fmla="*/ 9185108 w 12192000"/>
              <a:gd name="connsiteY210" fmla="*/ 3728877 h 6858000"/>
              <a:gd name="connsiteX211" fmla="*/ 9248364 w 12192000"/>
              <a:gd name="connsiteY211" fmla="*/ 3775318 h 6858000"/>
              <a:gd name="connsiteX212" fmla="*/ 9281193 w 12192000"/>
              <a:gd name="connsiteY212" fmla="*/ 3768913 h 6858000"/>
              <a:gd name="connsiteX213" fmla="*/ 9285197 w 12192000"/>
              <a:gd name="connsiteY213" fmla="*/ 3764108 h 6858000"/>
              <a:gd name="connsiteX214" fmla="*/ 9239556 w 12192000"/>
              <a:gd name="connsiteY214" fmla="*/ 3733681 h 6858000"/>
              <a:gd name="connsiteX215" fmla="*/ 9190713 w 12192000"/>
              <a:gd name="connsiteY215" fmla="*/ 3701653 h 6858000"/>
              <a:gd name="connsiteX216" fmla="*/ 9188311 w 12192000"/>
              <a:gd name="connsiteY216" fmla="*/ 3659216 h 6858000"/>
              <a:gd name="connsiteX217" fmla="*/ 9190713 w 12192000"/>
              <a:gd name="connsiteY217" fmla="*/ 3690444 h 6858000"/>
              <a:gd name="connsiteX218" fmla="*/ 9190713 w 12192000"/>
              <a:gd name="connsiteY218" fmla="*/ 3692045 h 6858000"/>
              <a:gd name="connsiteX219" fmla="*/ 9286798 w 12192000"/>
              <a:gd name="connsiteY219" fmla="*/ 3760105 h 6858000"/>
              <a:gd name="connsiteX220" fmla="*/ 9285197 w 12192000"/>
              <a:gd name="connsiteY220" fmla="*/ 3730479 h 6858000"/>
              <a:gd name="connsiteX221" fmla="*/ 9282795 w 12192000"/>
              <a:gd name="connsiteY221" fmla="*/ 3721671 h 6858000"/>
              <a:gd name="connsiteX222" fmla="*/ 9240357 w 12192000"/>
              <a:gd name="connsiteY222" fmla="*/ 3692846 h 6858000"/>
              <a:gd name="connsiteX223" fmla="*/ 9188311 w 12192000"/>
              <a:gd name="connsiteY223" fmla="*/ 3659216 h 6858000"/>
              <a:gd name="connsiteX224" fmla="*/ 9181905 w 12192000"/>
              <a:gd name="connsiteY224" fmla="*/ 3611173 h 6858000"/>
              <a:gd name="connsiteX225" fmla="*/ 9182706 w 12192000"/>
              <a:gd name="connsiteY225" fmla="*/ 3615977 h 6858000"/>
              <a:gd name="connsiteX226" fmla="*/ 9187510 w 12192000"/>
              <a:gd name="connsiteY226" fmla="*/ 3648006 h 6858000"/>
              <a:gd name="connsiteX227" fmla="*/ 9281994 w 12192000"/>
              <a:gd name="connsiteY227" fmla="*/ 3715265 h 6858000"/>
              <a:gd name="connsiteX228" fmla="*/ 9279592 w 12192000"/>
              <a:gd name="connsiteY228" fmla="*/ 3690443 h 6858000"/>
              <a:gd name="connsiteX229" fmla="*/ 9280392 w 12192000"/>
              <a:gd name="connsiteY229" fmla="*/ 3676030 h 6858000"/>
              <a:gd name="connsiteX230" fmla="*/ 9264378 w 12192000"/>
              <a:gd name="connsiteY230" fmla="*/ 3665621 h 6858000"/>
              <a:gd name="connsiteX231" fmla="*/ 9181905 w 12192000"/>
              <a:gd name="connsiteY231" fmla="*/ 3611173 h 6858000"/>
              <a:gd name="connsiteX232" fmla="*/ 9182706 w 12192000"/>
              <a:gd name="connsiteY232" fmla="*/ 3575942 h 6858000"/>
              <a:gd name="connsiteX233" fmla="*/ 9182706 w 12192000"/>
              <a:gd name="connsiteY233" fmla="*/ 3595159 h 6858000"/>
              <a:gd name="connsiteX234" fmla="*/ 9280392 w 12192000"/>
              <a:gd name="connsiteY234" fmla="*/ 3672027 h 6858000"/>
              <a:gd name="connsiteX235" fmla="*/ 9283595 w 12192000"/>
              <a:gd name="connsiteY235" fmla="*/ 3643202 h 6858000"/>
              <a:gd name="connsiteX236" fmla="*/ 9253969 w 12192000"/>
              <a:gd name="connsiteY236" fmla="*/ 3623184 h 6858000"/>
              <a:gd name="connsiteX237" fmla="*/ 9182706 w 12192000"/>
              <a:gd name="connsiteY237" fmla="*/ 3575942 h 6858000"/>
              <a:gd name="connsiteX238" fmla="*/ 7265806 w 12192000"/>
              <a:gd name="connsiteY238" fmla="*/ 3544714 h 6858000"/>
              <a:gd name="connsiteX239" fmla="*/ 7210557 w 12192000"/>
              <a:gd name="connsiteY239" fmla="*/ 3649607 h 6858000"/>
              <a:gd name="connsiteX240" fmla="*/ 7224170 w 12192000"/>
              <a:gd name="connsiteY240" fmla="*/ 3863397 h 6858000"/>
              <a:gd name="connsiteX241" fmla="*/ 7236981 w 12192000"/>
              <a:gd name="connsiteY241" fmla="*/ 3872204 h 6858000"/>
              <a:gd name="connsiteX242" fmla="*/ 7269009 w 12192000"/>
              <a:gd name="connsiteY242" fmla="*/ 3893023 h 6858000"/>
              <a:gd name="connsiteX243" fmla="*/ 7401927 w 12192000"/>
              <a:gd name="connsiteY243" fmla="*/ 3967489 h 6858000"/>
              <a:gd name="connsiteX244" fmla="*/ 7541251 w 12192000"/>
              <a:gd name="connsiteY244" fmla="*/ 4026741 h 6858000"/>
              <a:gd name="connsiteX245" fmla="*/ 7576482 w 12192000"/>
              <a:gd name="connsiteY245" fmla="*/ 4039553 h 6858000"/>
              <a:gd name="connsiteX246" fmla="*/ 7612514 w 12192000"/>
              <a:gd name="connsiteY246" fmla="*/ 4050763 h 6858000"/>
              <a:gd name="connsiteX247" fmla="*/ 7685378 w 12192000"/>
              <a:gd name="connsiteY247" fmla="*/ 4069980 h 6858000"/>
              <a:gd name="connsiteX248" fmla="*/ 7759044 w 12192000"/>
              <a:gd name="connsiteY248" fmla="*/ 4085994 h 6858000"/>
              <a:gd name="connsiteX249" fmla="*/ 7795876 w 12192000"/>
              <a:gd name="connsiteY249" fmla="*/ 4091599 h 6858000"/>
              <a:gd name="connsiteX250" fmla="*/ 7814293 w 12192000"/>
              <a:gd name="connsiteY250" fmla="*/ 4094802 h 6858000"/>
              <a:gd name="connsiteX251" fmla="*/ 7832709 w 12192000"/>
              <a:gd name="connsiteY251" fmla="*/ 4097204 h 6858000"/>
              <a:gd name="connsiteX252" fmla="*/ 7981641 w 12192000"/>
              <a:gd name="connsiteY252" fmla="*/ 4106012 h 6858000"/>
              <a:gd name="connsiteX253" fmla="*/ 8019274 w 12192000"/>
              <a:gd name="connsiteY253" fmla="*/ 4105211 h 6858000"/>
              <a:gd name="connsiteX254" fmla="*/ 8037691 w 12192000"/>
              <a:gd name="connsiteY254" fmla="*/ 4104410 h 6858000"/>
              <a:gd name="connsiteX255" fmla="*/ 8056107 w 12192000"/>
              <a:gd name="connsiteY255" fmla="*/ 4102809 h 6858000"/>
              <a:gd name="connsiteX256" fmla="*/ 8092940 w 12192000"/>
              <a:gd name="connsiteY256" fmla="*/ 4100407 h 6858000"/>
              <a:gd name="connsiteX257" fmla="*/ 8129772 w 12192000"/>
              <a:gd name="connsiteY257" fmla="*/ 4095602 h 6858000"/>
              <a:gd name="connsiteX258" fmla="*/ 8148189 w 12192000"/>
              <a:gd name="connsiteY258" fmla="*/ 4093200 h 6858000"/>
              <a:gd name="connsiteX259" fmla="*/ 8083331 w 12192000"/>
              <a:gd name="connsiteY259" fmla="*/ 3866599 h 6858000"/>
              <a:gd name="connsiteX260" fmla="*/ 8012869 w 12192000"/>
              <a:gd name="connsiteY260" fmla="*/ 3864998 h 6858000"/>
              <a:gd name="connsiteX261" fmla="*/ 7994452 w 12192000"/>
              <a:gd name="connsiteY261" fmla="*/ 3864197 h 6858000"/>
              <a:gd name="connsiteX262" fmla="*/ 7976036 w 12192000"/>
              <a:gd name="connsiteY262" fmla="*/ 3862596 h 6858000"/>
              <a:gd name="connsiteX263" fmla="*/ 7938403 w 12192000"/>
              <a:gd name="connsiteY263" fmla="*/ 3858592 h 6858000"/>
              <a:gd name="connsiteX264" fmla="*/ 7901570 w 12192000"/>
              <a:gd name="connsiteY264" fmla="*/ 3852987 h 6858000"/>
              <a:gd name="connsiteX265" fmla="*/ 7883154 w 12192000"/>
              <a:gd name="connsiteY265" fmla="*/ 3849784 h 6858000"/>
              <a:gd name="connsiteX266" fmla="*/ 7864737 w 12192000"/>
              <a:gd name="connsiteY266" fmla="*/ 3846582 h 6858000"/>
              <a:gd name="connsiteX267" fmla="*/ 7827905 w 12192000"/>
              <a:gd name="connsiteY267" fmla="*/ 3839375 h 6858000"/>
              <a:gd name="connsiteX268" fmla="*/ 7791072 w 12192000"/>
              <a:gd name="connsiteY268" fmla="*/ 3830567 h 6858000"/>
              <a:gd name="connsiteX269" fmla="*/ 7772656 w 12192000"/>
              <a:gd name="connsiteY269" fmla="*/ 3825763 h 6858000"/>
              <a:gd name="connsiteX270" fmla="*/ 7755040 w 12192000"/>
              <a:gd name="connsiteY270" fmla="*/ 3820158 h 6858000"/>
              <a:gd name="connsiteX271" fmla="*/ 7719008 w 12192000"/>
              <a:gd name="connsiteY271" fmla="*/ 3809749 h 6858000"/>
              <a:gd name="connsiteX272" fmla="*/ 7449169 w 12192000"/>
              <a:gd name="connsiteY272" fmla="*/ 3684037 h 6858000"/>
              <a:gd name="connsiteX273" fmla="*/ 7328262 w 12192000"/>
              <a:gd name="connsiteY273" fmla="*/ 3599162 h 6858000"/>
              <a:gd name="connsiteX274" fmla="*/ 7265806 w 12192000"/>
              <a:gd name="connsiteY274" fmla="*/ 3544714 h 6858000"/>
              <a:gd name="connsiteX275" fmla="*/ 9188311 w 12192000"/>
              <a:gd name="connsiteY275" fmla="*/ 3540711 h 6858000"/>
              <a:gd name="connsiteX276" fmla="*/ 9183507 w 12192000"/>
              <a:gd name="connsiteY276" fmla="*/ 3563932 h 6858000"/>
              <a:gd name="connsiteX277" fmla="*/ 9284396 w 12192000"/>
              <a:gd name="connsiteY277" fmla="*/ 3639198 h 6858000"/>
              <a:gd name="connsiteX278" fmla="*/ 9287599 w 12192000"/>
              <a:gd name="connsiteY278" fmla="*/ 3615978 h 6858000"/>
              <a:gd name="connsiteX279" fmla="*/ 9287599 w 12192000"/>
              <a:gd name="connsiteY279" fmla="*/ 3605569 h 6858000"/>
              <a:gd name="connsiteX280" fmla="*/ 9286799 w 12192000"/>
              <a:gd name="connsiteY280" fmla="*/ 3605569 h 6858000"/>
              <a:gd name="connsiteX281" fmla="*/ 9264379 w 12192000"/>
              <a:gd name="connsiteY281" fmla="*/ 3590355 h 6858000"/>
              <a:gd name="connsiteX282" fmla="*/ 9188311 w 12192000"/>
              <a:gd name="connsiteY282" fmla="*/ 3540711 h 6858000"/>
              <a:gd name="connsiteX283" fmla="*/ 9831281 w 12192000"/>
              <a:gd name="connsiteY283" fmla="*/ 3522294 h 6858000"/>
              <a:gd name="connsiteX284" fmla="*/ 9873719 w 12192000"/>
              <a:gd name="connsiteY284" fmla="*/ 3647205 h 6858000"/>
              <a:gd name="connsiteX285" fmla="*/ 9788844 w 12192000"/>
              <a:gd name="connsiteY285" fmla="*/ 3647205 h 6858000"/>
              <a:gd name="connsiteX286" fmla="*/ 8369985 w 12192000"/>
              <a:gd name="connsiteY286" fmla="*/ 3522294 h 6858000"/>
              <a:gd name="connsiteX287" fmla="*/ 8412423 w 12192000"/>
              <a:gd name="connsiteY287" fmla="*/ 3647205 h 6858000"/>
              <a:gd name="connsiteX288" fmla="*/ 8327548 w 12192000"/>
              <a:gd name="connsiteY288" fmla="*/ 3647205 h 6858000"/>
              <a:gd name="connsiteX289" fmla="*/ 8947297 w 12192000"/>
              <a:gd name="connsiteY289" fmla="*/ 3512686 h 6858000"/>
              <a:gd name="connsiteX290" fmla="*/ 9015357 w 12192000"/>
              <a:gd name="connsiteY290" fmla="*/ 3512686 h 6858000"/>
              <a:gd name="connsiteX291" fmla="*/ 9044983 w 12192000"/>
              <a:gd name="connsiteY291" fmla="*/ 3522294 h 6858000"/>
              <a:gd name="connsiteX292" fmla="*/ 9056994 w 12192000"/>
              <a:gd name="connsiteY292" fmla="*/ 3547917 h 6858000"/>
              <a:gd name="connsiteX293" fmla="*/ 9044983 w 12192000"/>
              <a:gd name="connsiteY293" fmla="*/ 3574340 h 6858000"/>
              <a:gd name="connsiteX294" fmla="*/ 9015357 w 12192000"/>
              <a:gd name="connsiteY294" fmla="*/ 3583949 h 6858000"/>
              <a:gd name="connsiteX295" fmla="*/ 8947297 w 12192000"/>
              <a:gd name="connsiteY295" fmla="*/ 3583949 h 6858000"/>
              <a:gd name="connsiteX296" fmla="*/ 9193916 w 12192000"/>
              <a:gd name="connsiteY296" fmla="*/ 3503077 h 6858000"/>
              <a:gd name="connsiteX297" fmla="*/ 9187510 w 12192000"/>
              <a:gd name="connsiteY297" fmla="*/ 3525497 h 6858000"/>
              <a:gd name="connsiteX298" fmla="*/ 9287599 w 12192000"/>
              <a:gd name="connsiteY298" fmla="*/ 3601564 h 6858000"/>
              <a:gd name="connsiteX299" fmla="*/ 9286798 w 12192000"/>
              <a:gd name="connsiteY299" fmla="*/ 3563931 h 6858000"/>
              <a:gd name="connsiteX300" fmla="*/ 9263578 w 12192000"/>
              <a:gd name="connsiteY300" fmla="*/ 3548717 h 6858000"/>
              <a:gd name="connsiteX301" fmla="*/ 9193916 w 12192000"/>
              <a:gd name="connsiteY301" fmla="*/ 3503077 h 6858000"/>
              <a:gd name="connsiteX302" fmla="*/ 9205125 w 12192000"/>
              <a:gd name="connsiteY302" fmla="*/ 3471049 h 6858000"/>
              <a:gd name="connsiteX303" fmla="*/ 9202723 w 12192000"/>
              <a:gd name="connsiteY303" fmla="*/ 3479857 h 6858000"/>
              <a:gd name="connsiteX304" fmla="*/ 9197919 w 12192000"/>
              <a:gd name="connsiteY304" fmla="*/ 3494270 h 6858000"/>
              <a:gd name="connsiteX305" fmla="*/ 9286798 w 12192000"/>
              <a:gd name="connsiteY305" fmla="*/ 3560728 h 6858000"/>
              <a:gd name="connsiteX306" fmla="*/ 9281994 w 12192000"/>
              <a:gd name="connsiteY306" fmla="*/ 3540711 h 6858000"/>
              <a:gd name="connsiteX307" fmla="*/ 9283595 w 12192000"/>
              <a:gd name="connsiteY307" fmla="*/ 3529501 h 6858000"/>
              <a:gd name="connsiteX308" fmla="*/ 9281193 w 12192000"/>
              <a:gd name="connsiteY308" fmla="*/ 3520693 h 6858000"/>
              <a:gd name="connsiteX309" fmla="*/ 9274787 w 12192000"/>
              <a:gd name="connsiteY309" fmla="*/ 3516689 h 6858000"/>
              <a:gd name="connsiteX310" fmla="*/ 9205125 w 12192000"/>
              <a:gd name="connsiteY310" fmla="*/ 3471049 h 6858000"/>
              <a:gd name="connsiteX311" fmla="*/ 9210731 w 12192000"/>
              <a:gd name="connsiteY311" fmla="*/ 3441423 h 6858000"/>
              <a:gd name="connsiteX312" fmla="*/ 9210731 w 12192000"/>
              <a:gd name="connsiteY312" fmla="*/ 3443825 h 6858000"/>
              <a:gd name="connsiteX313" fmla="*/ 9207528 w 12192000"/>
              <a:gd name="connsiteY313" fmla="*/ 3459839 h 6858000"/>
              <a:gd name="connsiteX314" fmla="*/ 9278791 w 12192000"/>
              <a:gd name="connsiteY314" fmla="*/ 3514288 h 6858000"/>
              <a:gd name="connsiteX315" fmla="*/ 9267581 w 12192000"/>
              <a:gd name="connsiteY315" fmla="*/ 3479056 h 6858000"/>
              <a:gd name="connsiteX316" fmla="*/ 9263578 w 12192000"/>
              <a:gd name="connsiteY316" fmla="*/ 3475854 h 6858000"/>
              <a:gd name="connsiteX317" fmla="*/ 9210731 w 12192000"/>
              <a:gd name="connsiteY317" fmla="*/ 3441423 h 6858000"/>
              <a:gd name="connsiteX318" fmla="*/ 9777634 w 12192000"/>
              <a:gd name="connsiteY318" fmla="*/ 3437419 h 6858000"/>
              <a:gd name="connsiteX319" fmla="*/ 9652723 w 12192000"/>
              <a:gd name="connsiteY319" fmla="*/ 3768913 h 6858000"/>
              <a:gd name="connsiteX320" fmla="*/ 9749609 w 12192000"/>
              <a:gd name="connsiteY320" fmla="*/ 3768913 h 6858000"/>
              <a:gd name="connsiteX321" fmla="*/ 9766424 w 12192000"/>
              <a:gd name="connsiteY321" fmla="*/ 3720870 h 6858000"/>
              <a:gd name="connsiteX322" fmla="*/ 9896939 w 12192000"/>
              <a:gd name="connsiteY322" fmla="*/ 3720870 h 6858000"/>
              <a:gd name="connsiteX323" fmla="*/ 9913754 w 12192000"/>
              <a:gd name="connsiteY323" fmla="*/ 3768913 h 6858000"/>
              <a:gd name="connsiteX324" fmla="*/ 10010640 w 12192000"/>
              <a:gd name="connsiteY324" fmla="*/ 3768913 h 6858000"/>
              <a:gd name="connsiteX325" fmla="*/ 9884929 w 12192000"/>
              <a:gd name="connsiteY325" fmla="*/ 3437419 h 6858000"/>
              <a:gd name="connsiteX326" fmla="*/ 8861621 w 12192000"/>
              <a:gd name="connsiteY326" fmla="*/ 3437419 h 6858000"/>
              <a:gd name="connsiteX327" fmla="*/ 8861621 w 12192000"/>
              <a:gd name="connsiteY327" fmla="*/ 3768913 h 6858000"/>
              <a:gd name="connsiteX328" fmla="*/ 8947297 w 12192000"/>
              <a:gd name="connsiteY328" fmla="*/ 3768913 h 6858000"/>
              <a:gd name="connsiteX329" fmla="*/ 8947297 w 12192000"/>
              <a:gd name="connsiteY329" fmla="*/ 3658415 h 6858000"/>
              <a:gd name="connsiteX330" fmla="*/ 8991336 w 12192000"/>
              <a:gd name="connsiteY330" fmla="*/ 3658415 h 6858000"/>
              <a:gd name="connsiteX331" fmla="*/ 9047386 w 12192000"/>
              <a:gd name="connsiteY331" fmla="*/ 3769714 h 6858000"/>
              <a:gd name="connsiteX332" fmla="*/ 9145873 w 12192000"/>
              <a:gd name="connsiteY332" fmla="*/ 3769714 h 6858000"/>
              <a:gd name="connsiteX333" fmla="*/ 9077813 w 12192000"/>
              <a:gd name="connsiteY333" fmla="*/ 3647205 h 6858000"/>
              <a:gd name="connsiteX334" fmla="*/ 9124254 w 12192000"/>
              <a:gd name="connsiteY334" fmla="*/ 3612774 h 6858000"/>
              <a:gd name="connsiteX335" fmla="*/ 9144272 w 12192000"/>
              <a:gd name="connsiteY335" fmla="*/ 3547917 h 6858000"/>
              <a:gd name="connsiteX336" fmla="*/ 9113044 w 12192000"/>
              <a:gd name="connsiteY336" fmla="*/ 3468647 h 6858000"/>
              <a:gd name="connsiteX337" fmla="*/ 9028169 w 12192000"/>
              <a:gd name="connsiteY337" fmla="*/ 3437419 h 6858000"/>
              <a:gd name="connsiteX338" fmla="*/ 8573366 w 12192000"/>
              <a:gd name="connsiteY338" fmla="*/ 3437419 h 6858000"/>
              <a:gd name="connsiteX339" fmla="*/ 8573366 w 12192000"/>
              <a:gd name="connsiteY339" fmla="*/ 3769714 h 6858000"/>
              <a:gd name="connsiteX340" fmla="*/ 8659042 w 12192000"/>
              <a:gd name="connsiteY340" fmla="*/ 3769714 h 6858000"/>
              <a:gd name="connsiteX341" fmla="*/ 8659042 w 12192000"/>
              <a:gd name="connsiteY341" fmla="*/ 3638397 h 6858000"/>
              <a:gd name="connsiteX342" fmla="*/ 8812778 w 12192000"/>
              <a:gd name="connsiteY342" fmla="*/ 3638397 h 6858000"/>
              <a:gd name="connsiteX343" fmla="*/ 8812778 w 12192000"/>
              <a:gd name="connsiteY343" fmla="*/ 3563931 h 6858000"/>
              <a:gd name="connsiteX344" fmla="*/ 8659042 w 12192000"/>
              <a:gd name="connsiteY344" fmla="*/ 3563931 h 6858000"/>
              <a:gd name="connsiteX345" fmla="*/ 8659042 w 12192000"/>
              <a:gd name="connsiteY345" fmla="*/ 3511885 h 6858000"/>
              <a:gd name="connsiteX346" fmla="*/ 8816782 w 12192000"/>
              <a:gd name="connsiteY346" fmla="*/ 3511885 h 6858000"/>
              <a:gd name="connsiteX347" fmla="*/ 8816782 w 12192000"/>
              <a:gd name="connsiteY347" fmla="*/ 3437419 h 6858000"/>
              <a:gd name="connsiteX348" fmla="*/ 8316338 w 12192000"/>
              <a:gd name="connsiteY348" fmla="*/ 3437419 h 6858000"/>
              <a:gd name="connsiteX349" fmla="*/ 8191427 w 12192000"/>
              <a:gd name="connsiteY349" fmla="*/ 3768913 h 6858000"/>
              <a:gd name="connsiteX350" fmla="*/ 8288313 w 12192000"/>
              <a:gd name="connsiteY350" fmla="*/ 3768913 h 6858000"/>
              <a:gd name="connsiteX351" fmla="*/ 8305128 w 12192000"/>
              <a:gd name="connsiteY351" fmla="*/ 3720870 h 6858000"/>
              <a:gd name="connsiteX352" fmla="*/ 8435643 w 12192000"/>
              <a:gd name="connsiteY352" fmla="*/ 3720870 h 6858000"/>
              <a:gd name="connsiteX353" fmla="*/ 8452458 w 12192000"/>
              <a:gd name="connsiteY353" fmla="*/ 3768913 h 6858000"/>
              <a:gd name="connsiteX354" fmla="*/ 8549344 w 12192000"/>
              <a:gd name="connsiteY354" fmla="*/ 3768913 h 6858000"/>
              <a:gd name="connsiteX355" fmla="*/ 8423633 w 12192000"/>
              <a:gd name="connsiteY355" fmla="*/ 3437419 h 6858000"/>
              <a:gd name="connsiteX356" fmla="*/ 9502190 w 12192000"/>
              <a:gd name="connsiteY356" fmla="*/ 3434216 h 6858000"/>
              <a:gd name="connsiteX357" fmla="*/ 9373275 w 12192000"/>
              <a:gd name="connsiteY357" fmla="*/ 3482259 h 6858000"/>
              <a:gd name="connsiteX358" fmla="*/ 9322030 w 12192000"/>
              <a:gd name="connsiteY358" fmla="*/ 3606369 h 6858000"/>
              <a:gd name="connsiteX359" fmla="*/ 9373275 w 12192000"/>
              <a:gd name="connsiteY359" fmla="*/ 3729678 h 6858000"/>
              <a:gd name="connsiteX360" fmla="*/ 9501389 w 12192000"/>
              <a:gd name="connsiteY360" fmla="*/ 3777721 h 6858000"/>
              <a:gd name="connsiteX361" fmla="*/ 9592670 w 12192000"/>
              <a:gd name="connsiteY361" fmla="*/ 3749696 h 6858000"/>
              <a:gd name="connsiteX362" fmla="*/ 9647118 w 12192000"/>
              <a:gd name="connsiteY362" fmla="*/ 3686440 h 6858000"/>
              <a:gd name="connsiteX363" fmla="*/ 9573453 w 12192000"/>
              <a:gd name="connsiteY363" fmla="*/ 3652009 h 6858000"/>
              <a:gd name="connsiteX364" fmla="*/ 9545428 w 12192000"/>
              <a:gd name="connsiteY364" fmla="*/ 3686440 h 6858000"/>
              <a:gd name="connsiteX365" fmla="*/ 9502190 w 12192000"/>
              <a:gd name="connsiteY365" fmla="*/ 3700052 h 6858000"/>
              <a:gd name="connsiteX366" fmla="*/ 9435731 w 12192000"/>
              <a:gd name="connsiteY366" fmla="*/ 3672827 h 6858000"/>
              <a:gd name="connsiteX367" fmla="*/ 9409307 w 12192000"/>
              <a:gd name="connsiteY367" fmla="*/ 3604767 h 6858000"/>
              <a:gd name="connsiteX368" fmla="*/ 9435731 w 12192000"/>
              <a:gd name="connsiteY368" fmla="*/ 3536707 h 6858000"/>
              <a:gd name="connsiteX369" fmla="*/ 9502190 w 12192000"/>
              <a:gd name="connsiteY369" fmla="*/ 3509483 h 6858000"/>
              <a:gd name="connsiteX370" fmla="*/ 9545428 w 12192000"/>
              <a:gd name="connsiteY370" fmla="*/ 3523095 h 6858000"/>
              <a:gd name="connsiteX371" fmla="*/ 9573453 w 12192000"/>
              <a:gd name="connsiteY371" fmla="*/ 3557525 h 6858000"/>
              <a:gd name="connsiteX372" fmla="*/ 9647118 w 12192000"/>
              <a:gd name="connsiteY372" fmla="*/ 3523095 h 6858000"/>
              <a:gd name="connsiteX373" fmla="*/ 9502190 w 12192000"/>
              <a:gd name="connsiteY373" fmla="*/ 3434216 h 6858000"/>
              <a:gd name="connsiteX374" fmla="*/ 9212332 w 12192000"/>
              <a:gd name="connsiteY374" fmla="*/ 3416601 h 6858000"/>
              <a:gd name="connsiteX375" fmla="*/ 9212332 w 12192000"/>
              <a:gd name="connsiteY375" fmla="*/ 3431814 h 6858000"/>
              <a:gd name="connsiteX376" fmla="*/ 9265980 w 12192000"/>
              <a:gd name="connsiteY376" fmla="*/ 3472651 h 6858000"/>
              <a:gd name="connsiteX377" fmla="*/ 9259574 w 12192000"/>
              <a:gd name="connsiteY377" fmla="*/ 3447829 h 6858000"/>
              <a:gd name="connsiteX378" fmla="*/ 9254770 w 12192000"/>
              <a:gd name="connsiteY378" fmla="*/ 3444626 h 6858000"/>
              <a:gd name="connsiteX379" fmla="*/ 9212332 w 12192000"/>
              <a:gd name="connsiteY379" fmla="*/ 3416601 h 6858000"/>
              <a:gd name="connsiteX380" fmla="*/ 9213934 w 12192000"/>
              <a:gd name="connsiteY380" fmla="*/ 3384572 h 6858000"/>
              <a:gd name="connsiteX381" fmla="*/ 9211532 w 12192000"/>
              <a:gd name="connsiteY381" fmla="*/ 3386974 h 6858000"/>
              <a:gd name="connsiteX382" fmla="*/ 9212332 w 12192000"/>
              <a:gd name="connsiteY382" fmla="*/ 3392579 h 6858000"/>
              <a:gd name="connsiteX383" fmla="*/ 9213934 w 12192000"/>
              <a:gd name="connsiteY383" fmla="*/ 3396583 h 6858000"/>
              <a:gd name="connsiteX384" fmla="*/ 9210731 w 12192000"/>
              <a:gd name="connsiteY384" fmla="*/ 3406191 h 6858000"/>
              <a:gd name="connsiteX385" fmla="*/ 9258774 w 12192000"/>
              <a:gd name="connsiteY385" fmla="*/ 3443024 h 6858000"/>
              <a:gd name="connsiteX386" fmla="*/ 9257973 w 12192000"/>
              <a:gd name="connsiteY386" fmla="*/ 3414999 h 6858000"/>
              <a:gd name="connsiteX387" fmla="*/ 9258774 w 12192000"/>
              <a:gd name="connsiteY387" fmla="*/ 3414198 h 6858000"/>
              <a:gd name="connsiteX388" fmla="*/ 9254770 w 12192000"/>
              <a:gd name="connsiteY388" fmla="*/ 3411796 h 6858000"/>
              <a:gd name="connsiteX389" fmla="*/ 9213934 w 12192000"/>
              <a:gd name="connsiteY389" fmla="*/ 3384572 h 6858000"/>
              <a:gd name="connsiteX390" fmla="*/ 9235553 w 12192000"/>
              <a:gd name="connsiteY390" fmla="*/ 3382971 h 6858000"/>
              <a:gd name="connsiteX391" fmla="*/ 9222742 w 12192000"/>
              <a:gd name="connsiteY391" fmla="*/ 3383772 h 6858000"/>
              <a:gd name="connsiteX392" fmla="*/ 9261176 w 12192000"/>
              <a:gd name="connsiteY392" fmla="*/ 3411797 h 6858000"/>
              <a:gd name="connsiteX393" fmla="*/ 9260375 w 12192000"/>
              <a:gd name="connsiteY393" fmla="*/ 3409394 h 6858000"/>
              <a:gd name="connsiteX394" fmla="*/ 9256372 w 12192000"/>
              <a:gd name="connsiteY394" fmla="*/ 3397384 h 6858000"/>
              <a:gd name="connsiteX395" fmla="*/ 9257973 w 12192000"/>
              <a:gd name="connsiteY395" fmla="*/ 3393380 h 6858000"/>
              <a:gd name="connsiteX396" fmla="*/ 9258774 w 12192000"/>
              <a:gd name="connsiteY396" fmla="*/ 3387775 h 6858000"/>
              <a:gd name="connsiteX397" fmla="*/ 9253169 w 12192000"/>
              <a:gd name="connsiteY397" fmla="*/ 3383772 h 6858000"/>
              <a:gd name="connsiteX398" fmla="*/ 9235553 w 12192000"/>
              <a:gd name="connsiteY398" fmla="*/ 3382971 h 6858000"/>
              <a:gd name="connsiteX399" fmla="*/ 7439561 w 12192000"/>
              <a:gd name="connsiteY399" fmla="*/ 3322117 h 6858000"/>
              <a:gd name="connsiteX400" fmla="*/ 7439561 w 12192000"/>
              <a:gd name="connsiteY400" fmla="*/ 3347740 h 6858000"/>
              <a:gd name="connsiteX401" fmla="*/ 7270611 w 12192000"/>
              <a:gd name="connsiteY401" fmla="*/ 3536707 h 6858000"/>
              <a:gd name="connsiteX402" fmla="*/ 7279419 w 12192000"/>
              <a:gd name="connsiteY402" fmla="*/ 3543113 h 6858000"/>
              <a:gd name="connsiteX403" fmla="*/ 7339472 w 12192000"/>
              <a:gd name="connsiteY403" fmla="*/ 3583949 h 6858000"/>
              <a:gd name="connsiteX404" fmla="*/ 7465984 w 12192000"/>
              <a:gd name="connsiteY404" fmla="*/ 3655212 h 6858000"/>
              <a:gd name="connsiteX405" fmla="*/ 7734222 w 12192000"/>
              <a:gd name="connsiteY405" fmla="*/ 3757703 h 6858000"/>
              <a:gd name="connsiteX406" fmla="*/ 8016072 w 12192000"/>
              <a:gd name="connsiteY406" fmla="*/ 3798539 h 6858000"/>
              <a:gd name="connsiteX407" fmla="*/ 8051303 w 12192000"/>
              <a:gd name="connsiteY407" fmla="*/ 3799340 h 6858000"/>
              <a:gd name="connsiteX408" fmla="*/ 8086534 w 12192000"/>
              <a:gd name="connsiteY408" fmla="*/ 3798539 h 6858000"/>
              <a:gd name="connsiteX409" fmla="*/ 8099346 w 12192000"/>
              <a:gd name="connsiteY409" fmla="*/ 3798539 h 6858000"/>
              <a:gd name="connsiteX410" fmla="*/ 8179417 w 12192000"/>
              <a:gd name="connsiteY410" fmla="*/ 3584750 h 6858000"/>
              <a:gd name="connsiteX411" fmla="*/ 8171410 w 12192000"/>
              <a:gd name="connsiteY411" fmla="*/ 3584750 h 6858000"/>
              <a:gd name="connsiteX412" fmla="*/ 8153794 w 12192000"/>
              <a:gd name="connsiteY412" fmla="*/ 3584750 h 6858000"/>
              <a:gd name="connsiteX413" fmla="*/ 8136178 w 12192000"/>
              <a:gd name="connsiteY413" fmla="*/ 3583949 h 6858000"/>
              <a:gd name="connsiteX414" fmla="*/ 8100947 w 12192000"/>
              <a:gd name="connsiteY414" fmla="*/ 3582348 h 6858000"/>
              <a:gd name="connsiteX415" fmla="*/ 8065716 w 12192000"/>
              <a:gd name="connsiteY415" fmla="*/ 3579145 h 6858000"/>
              <a:gd name="connsiteX416" fmla="*/ 7926392 w 12192000"/>
              <a:gd name="connsiteY416" fmla="*/ 3556725 h 6858000"/>
              <a:gd name="connsiteX417" fmla="*/ 7791072 w 12192000"/>
              <a:gd name="connsiteY417" fmla="*/ 3517490 h 6858000"/>
              <a:gd name="connsiteX418" fmla="*/ 7539650 w 12192000"/>
              <a:gd name="connsiteY418" fmla="*/ 3394181 h 6858000"/>
              <a:gd name="connsiteX419" fmla="*/ 7439561 w 12192000"/>
              <a:gd name="connsiteY419" fmla="*/ 3322117 h 6858000"/>
              <a:gd name="connsiteX420" fmla="*/ 8122214 w 12192000"/>
              <a:gd name="connsiteY420" fmla="*/ 3038898 h 6858000"/>
              <a:gd name="connsiteX421" fmla="*/ 8098545 w 12192000"/>
              <a:gd name="connsiteY421" fmla="*/ 3044270 h 6858000"/>
              <a:gd name="connsiteX422" fmla="*/ 7890360 w 12192000"/>
              <a:gd name="connsiteY422" fmla="*/ 3058683 h 6858000"/>
              <a:gd name="connsiteX423" fmla="*/ 7674969 w 12192000"/>
              <a:gd name="connsiteY423" fmla="*/ 3119537 h 6858000"/>
              <a:gd name="connsiteX424" fmla="*/ 7548457 w 12192000"/>
              <a:gd name="connsiteY424" fmla="*/ 3169181 h 6858000"/>
              <a:gd name="connsiteX425" fmla="*/ 7441162 w 12192000"/>
              <a:gd name="connsiteY425" fmla="*/ 3298896 h 6858000"/>
              <a:gd name="connsiteX426" fmla="*/ 7555664 w 12192000"/>
              <a:gd name="connsiteY426" fmla="*/ 3364554 h 6858000"/>
              <a:gd name="connsiteX427" fmla="*/ 7807086 w 12192000"/>
              <a:gd name="connsiteY427" fmla="*/ 3465443 h 6858000"/>
              <a:gd name="connsiteX428" fmla="*/ 7839915 w 12192000"/>
              <a:gd name="connsiteY428" fmla="*/ 3474251 h 6858000"/>
              <a:gd name="connsiteX429" fmla="*/ 7872745 w 12192000"/>
              <a:gd name="connsiteY429" fmla="*/ 3482258 h 6858000"/>
              <a:gd name="connsiteX430" fmla="*/ 7938403 w 12192000"/>
              <a:gd name="connsiteY430" fmla="*/ 3496671 h 6858000"/>
              <a:gd name="connsiteX431" fmla="*/ 8071321 w 12192000"/>
              <a:gd name="connsiteY431" fmla="*/ 3513486 h 6858000"/>
              <a:gd name="connsiteX432" fmla="*/ 8104950 w 12192000"/>
              <a:gd name="connsiteY432" fmla="*/ 3515888 h 6858000"/>
              <a:gd name="connsiteX433" fmla="*/ 8138580 w 12192000"/>
              <a:gd name="connsiteY433" fmla="*/ 3516689 h 6858000"/>
              <a:gd name="connsiteX434" fmla="*/ 8155395 w 12192000"/>
              <a:gd name="connsiteY434" fmla="*/ 3517490 h 6858000"/>
              <a:gd name="connsiteX435" fmla="*/ 8172210 w 12192000"/>
              <a:gd name="connsiteY435" fmla="*/ 3517490 h 6858000"/>
              <a:gd name="connsiteX436" fmla="*/ 8205840 w 12192000"/>
              <a:gd name="connsiteY436" fmla="*/ 3516689 h 6858000"/>
              <a:gd name="connsiteX437" fmla="*/ 8206641 w 12192000"/>
              <a:gd name="connsiteY437" fmla="*/ 3516689 h 6858000"/>
              <a:gd name="connsiteX438" fmla="*/ 8264292 w 12192000"/>
              <a:gd name="connsiteY438" fmla="*/ 3362953 h 6858000"/>
              <a:gd name="connsiteX439" fmla="*/ 8475679 w 12192000"/>
              <a:gd name="connsiteY439" fmla="*/ 3362953 h 6858000"/>
              <a:gd name="connsiteX440" fmla="*/ 8498099 w 12192000"/>
              <a:gd name="connsiteY440" fmla="*/ 3422205 h 6858000"/>
              <a:gd name="connsiteX441" fmla="*/ 8498099 w 12192000"/>
              <a:gd name="connsiteY441" fmla="*/ 3362953 h 6858000"/>
              <a:gd name="connsiteX442" fmla="*/ 8872030 w 12192000"/>
              <a:gd name="connsiteY442" fmla="*/ 3362953 h 6858000"/>
              <a:gd name="connsiteX443" fmla="*/ 8895251 w 12192000"/>
              <a:gd name="connsiteY443" fmla="*/ 3356547 h 6858000"/>
              <a:gd name="connsiteX444" fmla="*/ 8810376 w 12192000"/>
              <a:gd name="connsiteY444" fmla="*/ 3302099 h 6858000"/>
              <a:gd name="connsiteX445" fmla="*/ 8570964 w 12192000"/>
              <a:gd name="connsiteY445" fmla="*/ 3236440 h 6858000"/>
              <a:gd name="connsiteX446" fmla="*/ 8336356 w 12192000"/>
              <a:gd name="connsiteY446" fmla="*/ 3294892 h 6858000"/>
              <a:gd name="connsiteX447" fmla="*/ 8127370 w 12192000"/>
              <a:gd name="connsiteY447" fmla="*/ 3169181 h 6858000"/>
              <a:gd name="connsiteX448" fmla="*/ 8122214 w 12192000"/>
              <a:gd name="connsiteY448" fmla="*/ 3038898 h 6858000"/>
              <a:gd name="connsiteX449" fmla="*/ 2205490 w 12192000"/>
              <a:gd name="connsiteY449" fmla="*/ 1039037 h 6858000"/>
              <a:gd name="connsiteX450" fmla="*/ 2209877 w 12192000"/>
              <a:gd name="connsiteY450" fmla="*/ 1039037 h 6858000"/>
              <a:gd name="connsiteX451" fmla="*/ 2214265 w 12192000"/>
              <a:gd name="connsiteY451" fmla="*/ 1039037 h 6858000"/>
              <a:gd name="connsiteX452" fmla="*/ 2215727 w 12192000"/>
              <a:gd name="connsiteY452" fmla="*/ 1040500 h 6858000"/>
              <a:gd name="connsiteX453" fmla="*/ 2215727 w 12192000"/>
              <a:gd name="connsiteY453" fmla="*/ 1041962 h 6858000"/>
              <a:gd name="connsiteX454" fmla="*/ 2215727 w 12192000"/>
              <a:gd name="connsiteY454" fmla="*/ 1043424 h 6858000"/>
              <a:gd name="connsiteX455" fmla="*/ 2214265 w 12192000"/>
              <a:gd name="connsiteY455" fmla="*/ 1044887 h 6858000"/>
              <a:gd name="connsiteX456" fmla="*/ 2209877 w 12192000"/>
              <a:gd name="connsiteY456" fmla="*/ 1044887 h 6858000"/>
              <a:gd name="connsiteX457" fmla="*/ 2205490 w 12192000"/>
              <a:gd name="connsiteY457" fmla="*/ 1044887 h 6858000"/>
              <a:gd name="connsiteX458" fmla="*/ 2201103 w 12192000"/>
              <a:gd name="connsiteY458" fmla="*/ 1034650 h 6858000"/>
              <a:gd name="connsiteX459" fmla="*/ 2201103 w 12192000"/>
              <a:gd name="connsiteY459" fmla="*/ 1060974 h 6858000"/>
              <a:gd name="connsiteX460" fmla="*/ 2206952 w 12192000"/>
              <a:gd name="connsiteY460" fmla="*/ 1060974 h 6858000"/>
              <a:gd name="connsiteX461" fmla="*/ 2206952 w 12192000"/>
              <a:gd name="connsiteY461" fmla="*/ 1050737 h 6858000"/>
              <a:gd name="connsiteX462" fmla="*/ 2208415 w 12192000"/>
              <a:gd name="connsiteY462" fmla="*/ 1050737 h 6858000"/>
              <a:gd name="connsiteX463" fmla="*/ 2211340 w 12192000"/>
              <a:gd name="connsiteY463" fmla="*/ 1050737 h 6858000"/>
              <a:gd name="connsiteX464" fmla="*/ 2212802 w 12192000"/>
              <a:gd name="connsiteY464" fmla="*/ 1052199 h 6858000"/>
              <a:gd name="connsiteX465" fmla="*/ 2215727 w 12192000"/>
              <a:gd name="connsiteY465" fmla="*/ 1056586 h 6858000"/>
              <a:gd name="connsiteX466" fmla="*/ 2220114 w 12192000"/>
              <a:gd name="connsiteY466" fmla="*/ 1062436 h 6858000"/>
              <a:gd name="connsiteX467" fmla="*/ 2225964 w 12192000"/>
              <a:gd name="connsiteY467" fmla="*/ 1062436 h 6858000"/>
              <a:gd name="connsiteX468" fmla="*/ 2223039 w 12192000"/>
              <a:gd name="connsiteY468" fmla="*/ 1058049 h 6858000"/>
              <a:gd name="connsiteX469" fmla="*/ 2218652 w 12192000"/>
              <a:gd name="connsiteY469" fmla="*/ 1050737 h 6858000"/>
              <a:gd name="connsiteX470" fmla="*/ 2215727 w 12192000"/>
              <a:gd name="connsiteY470" fmla="*/ 1049274 h 6858000"/>
              <a:gd name="connsiteX471" fmla="*/ 2221577 w 12192000"/>
              <a:gd name="connsiteY471" fmla="*/ 1046349 h 6858000"/>
              <a:gd name="connsiteX472" fmla="*/ 2223039 w 12192000"/>
              <a:gd name="connsiteY472" fmla="*/ 1041962 h 6858000"/>
              <a:gd name="connsiteX473" fmla="*/ 2221577 w 12192000"/>
              <a:gd name="connsiteY473" fmla="*/ 1037575 h 6858000"/>
              <a:gd name="connsiteX474" fmla="*/ 2218652 w 12192000"/>
              <a:gd name="connsiteY474" fmla="*/ 1034650 h 6858000"/>
              <a:gd name="connsiteX475" fmla="*/ 2212802 w 12192000"/>
              <a:gd name="connsiteY475" fmla="*/ 1034650 h 6858000"/>
              <a:gd name="connsiteX476" fmla="*/ 2171854 w 12192000"/>
              <a:gd name="connsiteY476" fmla="*/ 1033187 h 6858000"/>
              <a:gd name="connsiteX477" fmla="*/ 2171854 w 12192000"/>
              <a:gd name="connsiteY477" fmla="*/ 1059511 h 6858000"/>
              <a:gd name="connsiteX478" fmla="*/ 2176242 w 12192000"/>
              <a:gd name="connsiteY478" fmla="*/ 1059511 h 6858000"/>
              <a:gd name="connsiteX479" fmla="*/ 2176242 w 12192000"/>
              <a:gd name="connsiteY479" fmla="*/ 1039037 h 6858000"/>
              <a:gd name="connsiteX480" fmla="*/ 2182091 w 12192000"/>
              <a:gd name="connsiteY480" fmla="*/ 1059511 h 6858000"/>
              <a:gd name="connsiteX481" fmla="*/ 2187941 w 12192000"/>
              <a:gd name="connsiteY481" fmla="*/ 1059511 h 6858000"/>
              <a:gd name="connsiteX482" fmla="*/ 2193791 w 12192000"/>
              <a:gd name="connsiteY482" fmla="*/ 1039037 h 6858000"/>
              <a:gd name="connsiteX483" fmla="*/ 2193791 w 12192000"/>
              <a:gd name="connsiteY483" fmla="*/ 1059511 h 6858000"/>
              <a:gd name="connsiteX484" fmla="*/ 2198178 w 12192000"/>
              <a:gd name="connsiteY484" fmla="*/ 1059511 h 6858000"/>
              <a:gd name="connsiteX485" fmla="*/ 2198178 w 12192000"/>
              <a:gd name="connsiteY485" fmla="*/ 1033187 h 6858000"/>
              <a:gd name="connsiteX486" fmla="*/ 2190865 w 12192000"/>
              <a:gd name="connsiteY486" fmla="*/ 1033187 h 6858000"/>
              <a:gd name="connsiteX487" fmla="*/ 2183554 w 12192000"/>
              <a:gd name="connsiteY487" fmla="*/ 1050737 h 6858000"/>
              <a:gd name="connsiteX488" fmla="*/ 2179167 w 12192000"/>
              <a:gd name="connsiteY488" fmla="*/ 1033187 h 6858000"/>
              <a:gd name="connsiteX489" fmla="*/ 1727278 w 12192000"/>
              <a:gd name="connsiteY489" fmla="*/ 873783 h 6858000"/>
              <a:gd name="connsiteX490" fmla="*/ 1737514 w 12192000"/>
              <a:gd name="connsiteY490" fmla="*/ 889870 h 6858000"/>
              <a:gd name="connsiteX491" fmla="*/ 1744826 w 12192000"/>
              <a:gd name="connsiteY491" fmla="*/ 897182 h 6858000"/>
              <a:gd name="connsiteX492" fmla="*/ 1757988 w 12192000"/>
              <a:gd name="connsiteY492" fmla="*/ 904494 h 6858000"/>
              <a:gd name="connsiteX493" fmla="*/ 1778462 w 12192000"/>
              <a:gd name="connsiteY493" fmla="*/ 911806 h 6858000"/>
              <a:gd name="connsiteX494" fmla="*/ 1756526 w 12192000"/>
              <a:gd name="connsiteY494" fmla="*/ 943980 h 6858000"/>
              <a:gd name="connsiteX495" fmla="*/ 1734590 w 12192000"/>
              <a:gd name="connsiteY495" fmla="*/ 971766 h 6858000"/>
              <a:gd name="connsiteX496" fmla="*/ 1715578 w 12192000"/>
              <a:gd name="connsiteY496" fmla="*/ 992240 h 6858000"/>
              <a:gd name="connsiteX497" fmla="*/ 1700954 w 12192000"/>
              <a:gd name="connsiteY497" fmla="*/ 1003939 h 6858000"/>
              <a:gd name="connsiteX498" fmla="*/ 1692179 w 12192000"/>
              <a:gd name="connsiteY498" fmla="*/ 1009789 h 6858000"/>
              <a:gd name="connsiteX499" fmla="*/ 1686330 w 12192000"/>
              <a:gd name="connsiteY499" fmla="*/ 1011251 h 6858000"/>
              <a:gd name="connsiteX500" fmla="*/ 1671704 w 12192000"/>
              <a:gd name="connsiteY500" fmla="*/ 1002477 h 6858000"/>
              <a:gd name="connsiteX501" fmla="*/ 1668781 w 12192000"/>
              <a:gd name="connsiteY501" fmla="*/ 995164 h 6858000"/>
              <a:gd name="connsiteX502" fmla="*/ 1667318 w 12192000"/>
              <a:gd name="connsiteY502" fmla="*/ 976153 h 6858000"/>
              <a:gd name="connsiteX503" fmla="*/ 1670243 w 12192000"/>
              <a:gd name="connsiteY503" fmla="*/ 960066 h 6858000"/>
              <a:gd name="connsiteX504" fmla="*/ 1676093 w 12192000"/>
              <a:gd name="connsiteY504" fmla="*/ 941055 h 6858000"/>
              <a:gd name="connsiteX505" fmla="*/ 1727278 w 12192000"/>
              <a:gd name="connsiteY505" fmla="*/ 873783 h 6858000"/>
              <a:gd name="connsiteX506" fmla="*/ 2126519 w 12192000"/>
              <a:gd name="connsiteY506" fmla="*/ 815286 h 6858000"/>
              <a:gd name="connsiteX507" fmla="*/ 2135294 w 12192000"/>
              <a:gd name="connsiteY507" fmla="*/ 816749 h 6858000"/>
              <a:gd name="connsiteX508" fmla="*/ 2135294 w 12192000"/>
              <a:gd name="connsiteY508" fmla="*/ 828448 h 6858000"/>
              <a:gd name="connsiteX509" fmla="*/ 2130907 w 12192000"/>
              <a:gd name="connsiteY509" fmla="*/ 838685 h 6858000"/>
              <a:gd name="connsiteX510" fmla="*/ 2123594 w 12192000"/>
              <a:gd name="connsiteY510" fmla="*/ 851847 h 6858000"/>
              <a:gd name="connsiteX511" fmla="*/ 2056323 w 12192000"/>
              <a:gd name="connsiteY511" fmla="*/ 957141 h 6858000"/>
              <a:gd name="connsiteX512" fmla="*/ 2035849 w 12192000"/>
              <a:gd name="connsiteY512" fmla="*/ 984927 h 6858000"/>
              <a:gd name="connsiteX513" fmla="*/ 2021225 w 12192000"/>
              <a:gd name="connsiteY513" fmla="*/ 999552 h 6858000"/>
              <a:gd name="connsiteX514" fmla="*/ 2010988 w 12192000"/>
              <a:gd name="connsiteY514" fmla="*/ 1006864 h 6858000"/>
              <a:gd name="connsiteX515" fmla="*/ 1993438 w 12192000"/>
              <a:gd name="connsiteY515" fmla="*/ 1006864 h 6858000"/>
              <a:gd name="connsiteX516" fmla="*/ 1990514 w 12192000"/>
              <a:gd name="connsiteY516" fmla="*/ 992240 h 6858000"/>
              <a:gd name="connsiteX517" fmla="*/ 1991976 w 12192000"/>
              <a:gd name="connsiteY517" fmla="*/ 980540 h 6858000"/>
              <a:gd name="connsiteX518" fmla="*/ 1996363 w 12192000"/>
              <a:gd name="connsiteY518" fmla="*/ 965916 h 6858000"/>
              <a:gd name="connsiteX519" fmla="*/ 2005138 w 12192000"/>
              <a:gd name="connsiteY519" fmla="*/ 946905 h 6858000"/>
              <a:gd name="connsiteX520" fmla="*/ 2019762 w 12192000"/>
              <a:gd name="connsiteY520" fmla="*/ 922043 h 6858000"/>
              <a:gd name="connsiteX521" fmla="*/ 2041699 w 12192000"/>
              <a:gd name="connsiteY521" fmla="*/ 891332 h 6858000"/>
              <a:gd name="connsiteX522" fmla="*/ 2068022 w 12192000"/>
              <a:gd name="connsiteY522" fmla="*/ 860622 h 6858000"/>
              <a:gd name="connsiteX523" fmla="*/ 2092884 w 12192000"/>
              <a:gd name="connsiteY523" fmla="*/ 835760 h 6858000"/>
              <a:gd name="connsiteX524" fmla="*/ 2110433 w 12192000"/>
              <a:gd name="connsiteY524" fmla="*/ 822599 h 6858000"/>
              <a:gd name="connsiteX525" fmla="*/ 2120670 w 12192000"/>
              <a:gd name="connsiteY525" fmla="*/ 816749 h 6858000"/>
              <a:gd name="connsiteX526" fmla="*/ 2126519 w 12192000"/>
              <a:gd name="connsiteY526" fmla="*/ 815286 h 6858000"/>
              <a:gd name="connsiteX527" fmla="*/ 1784312 w 12192000"/>
              <a:gd name="connsiteY527" fmla="*/ 813824 h 6858000"/>
              <a:gd name="connsiteX528" fmla="*/ 1798936 w 12192000"/>
              <a:gd name="connsiteY528" fmla="*/ 818211 h 6858000"/>
              <a:gd name="connsiteX529" fmla="*/ 1803324 w 12192000"/>
              <a:gd name="connsiteY529" fmla="*/ 834298 h 6858000"/>
              <a:gd name="connsiteX530" fmla="*/ 1801861 w 12192000"/>
              <a:gd name="connsiteY530" fmla="*/ 844535 h 6858000"/>
              <a:gd name="connsiteX531" fmla="*/ 1800399 w 12192000"/>
              <a:gd name="connsiteY531" fmla="*/ 854772 h 6858000"/>
              <a:gd name="connsiteX532" fmla="*/ 1796011 w 12192000"/>
              <a:gd name="connsiteY532" fmla="*/ 867934 h 6858000"/>
              <a:gd name="connsiteX533" fmla="*/ 1782850 w 12192000"/>
              <a:gd name="connsiteY533" fmla="*/ 895720 h 6858000"/>
              <a:gd name="connsiteX534" fmla="*/ 1766763 w 12192000"/>
              <a:gd name="connsiteY534" fmla="*/ 889870 h 6858000"/>
              <a:gd name="connsiteX535" fmla="*/ 1757988 w 12192000"/>
              <a:gd name="connsiteY535" fmla="*/ 884020 h 6858000"/>
              <a:gd name="connsiteX536" fmla="*/ 1753601 w 12192000"/>
              <a:gd name="connsiteY536" fmla="*/ 879633 h 6858000"/>
              <a:gd name="connsiteX537" fmla="*/ 1747751 w 12192000"/>
              <a:gd name="connsiteY537" fmla="*/ 869396 h 6858000"/>
              <a:gd name="connsiteX538" fmla="*/ 1766763 w 12192000"/>
              <a:gd name="connsiteY538" fmla="*/ 819674 h 6858000"/>
              <a:gd name="connsiteX539" fmla="*/ 1784312 w 12192000"/>
              <a:gd name="connsiteY539" fmla="*/ 813824 h 6858000"/>
              <a:gd name="connsiteX540" fmla="*/ 797176 w 12192000"/>
              <a:gd name="connsiteY540" fmla="*/ 734853 h 6858000"/>
              <a:gd name="connsiteX541" fmla="*/ 811800 w 12192000"/>
              <a:gd name="connsiteY541" fmla="*/ 753865 h 6858000"/>
              <a:gd name="connsiteX542" fmla="*/ 824962 w 12192000"/>
              <a:gd name="connsiteY542" fmla="*/ 764102 h 6858000"/>
              <a:gd name="connsiteX543" fmla="*/ 843974 w 12192000"/>
              <a:gd name="connsiteY543" fmla="*/ 772876 h 6858000"/>
              <a:gd name="connsiteX544" fmla="*/ 798638 w 12192000"/>
              <a:gd name="connsiteY544" fmla="*/ 835760 h 6858000"/>
              <a:gd name="connsiteX545" fmla="*/ 779627 w 12192000"/>
              <a:gd name="connsiteY545" fmla="*/ 857697 h 6858000"/>
              <a:gd name="connsiteX546" fmla="*/ 770852 w 12192000"/>
              <a:gd name="connsiteY546" fmla="*/ 865009 h 6858000"/>
              <a:gd name="connsiteX547" fmla="*/ 763539 w 12192000"/>
              <a:gd name="connsiteY547" fmla="*/ 869396 h 6858000"/>
              <a:gd name="connsiteX548" fmla="*/ 734292 w 12192000"/>
              <a:gd name="connsiteY548" fmla="*/ 863546 h 6858000"/>
              <a:gd name="connsiteX549" fmla="*/ 731367 w 12192000"/>
              <a:gd name="connsiteY549" fmla="*/ 848922 h 6858000"/>
              <a:gd name="connsiteX550" fmla="*/ 734292 w 12192000"/>
              <a:gd name="connsiteY550" fmla="*/ 834298 h 6858000"/>
              <a:gd name="connsiteX551" fmla="*/ 744529 w 12192000"/>
              <a:gd name="connsiteY551" fmla="*/ 810899 h 6858000"/>
              <a:gd name="connsiteX552" fmla="*/ 765003 w 12192000"/>
              <a:gd name="connsiteY552" fmla="*/ 775801 h 6858000"/>
              <a:gd name="connsiteX553" fmla="*/ 797176 w 12192000"/>
              <a:gd name="connsiteY553" fmla="*/ 734853 h 6858000"/>
              <a:gd name="connsiteX554" fmla="*/ 1227129 w 12192000"/>
              <a:gd name="connsiteY554" fmla="*/ 679281 h 6858000"/>
              <a:gd name="connsiteX555" fmla="*/ 1238828 w 12192000"/>
              <a:gd name="connsiteY555" fmla="*/ 679281 h 6858000"/>
              <a:gd name="connsiteX556" fmla="*/ 1241753 w 12192000"/>
              <a:gd name="connsiteY556" fmla="*/ 695368 h 6858000"/>
              <a:gd name="connsiteX557" fmla="*/ 1237366 w 12192000"/>
              <a:gd name="connsiteY557" fmla="*/ 702680 h 6858000"/>
              <a:gd name="connsiteX558" fmla="*/ 1224204 w 12192000"/>
              <a:gd name="connsiteY558" fmla="*/ 724616 h 6858000"/>
              <a:gd name="connsiteX559" fmla="*/ 1165707 w 12192000"/>
              <a:gd name="connsiteY559" fmla="*/ 824061 h 6858000"/>
              <a:gd name="connsiteX560" fmla="*/ 1151083 w 12192000"/>
              <a:gd name="connsiteY560" fmla="*/ 844535 h 6858000"/>
              <a:gd name="connsiteX561" fmla="*/ 1139383 w 12192000"/>
              <a:gd name="connsiteY561" fmla="*/ 857697 h 6858000"/>
              <a:gd name="connsiteX562" fmla="*/ 1130609 w 12192000"/>
              <a:gd name="connsiteY562" fmla="*/ 865009 h 6858000"/>
              <a:gd name="connsiteX563" fmla="*/ 1120372 w 12192000"/>
              <a:gd name="connsiteY563" fmla="*/ 870858 h 6858000"/>
              <a:gd name="connsiteX564" fmla="*/ 1105747 w 12192000"/>
              <a:gd name="connsiteY564" fmla="*/ 866471 h 6858000"/>
              <a:gd name="connsiteX565" fmla="*/ 1101360 w 12192000"/>
              <a:gd name="connsiteY565" fmla="*/ 851847 h 6858000"/>
              <a:gd name="connsiteX566" fmla="*/ 1102823 w 12192000"/>
              <a:gd name="connsiteY566" fmla="*/ 841610 h 6858000"/>
              <a:gd name="connsiteX567" fmla="*/ 1108672 w 12192000"/>
              <a:gd name="connsiteY567" fmla="*/ 825523 h 6858000"/>
              <a:gd name="connsiteX568" fmla="*/ 1121834 w 12192000"/>
              <a:gd name="connsiteY568" fmla="*/ 799200 h 6858000"/>
              <a:gd name="connsiteX569" fmla="*/ 1145233 w 12192000"/>
              <a:gd name="connsiteY569" fmla="*/ 762639 h 6858000"/>
              <a:gd name="connsiteX570" fmla="*/ 1175944 w 12192000"/>
              <a:gd name="connsiteY570" fmla="*/ 724616 h 6858000"/>
              <a:gd name="connsiteX571" fmla="*/ 1202266 w 12192000"/>
              <a:gd name="connsiteY571" fmla="*/ 696830 h 6858000"/>
              <a:gd name="connsiteX572" fmla="*/ 1218354 w 12192000"/>
              <a:gd name="connsiteY572" fmla="*/ 683668 h 6858000"/>
              <a:gd name="connsiteX573" fmla="*/ 1227129 w 12192000"/>
              <a:gd name="connsiteY573" fmla="*/ 679281 h 6858000"/>
              <a:gd name="connsiteX574" fmla="*/ 851834 w 12192000"/>
              <a:gd name="connsiteY574" fmla="*/ 677453 h 6858000"/>
              <a:gd name="connsiteX575" fmla="*/ 862985 w 12192000"/>
              <a:gd name="connsiteY575" fmla="*/ 680743 h 6858000"/>
              <a:gd name="connsiteX576" fmla="*/ 870297 w 12192000"/>
              <a:gd name="connsiteY576" fmla="*/ 707067 h 6858000"/>
              <a:gd name="connsiteX577" fmla="*/ 868835 w 12192000"/>
              <a:gd name="connsiteY577" fmla="*/ 717304 h 6858000"/>
              <a:gd name="connsiteX578" fmla="*/ 864447 w 12192000"/>
              <a:gd name="connsiteY578" fmla="*/ 730466 h 6858000"/>
              <a:gd name="connsiteX579" fmla="*/ 852748 w 12192000"/>
              <a:gd name="connsiteY579" fmla="*/ 753865 h 6858000"/>
              <a:gd name="connsiteX580" fmla="*/ 836661 w 12192000"/>
              <a:gd name="connsiteY580" fmla="*/ 748015 h 6858000"/>
              <a:gd name="connsiteX581" fmla="*/ 826424 w 12192000"/>
              <a:gd name="connsiteY581" fmla="*/ 742165 h 6858000"/>
              <a:gd name="connsiteX582" fmla="*/ 820575 w 12192000"/>
              <a:gd name="connsiteY582" fmla="*/ 736316 h 6858000"/>
              <a:gd name="connsiteX583" fmla="*/ 816187 w 12192000"/>
              <a:gd name="connsiteY583" fmla="*/ 731928 h 6858000"/>
              <a:gd name="connsiteX584" fmla="*/ 823500 w 12192000"/>
              <a:gd name="connsiteY584" fmla="*/ 690980 h 6858000"/>
              <a:gd name="connsiteX585" fmla="*/ 830812 w 12192000"/>
              <a:gd name="connsiteY585" fmla="*/ 685131 h 6858000"/>
              <a:gd name="connsiteX586" fmla="*/ 839586 w 12192000"/>
              <a:gd name="connsiteY586" fmla="*/ 680743 h 6858000"/>
              <a:gd name="connsiteX587" fmla="*/ 851834 w 12192000"/>
              <a:gd name="connsiteY587" fmla="*/ 677453 h 6858000"/>
              <a:gd name="connsiteX588" fmla="*/ 1374833 w 12192000"/>
              <a:gd name="connsiteY588" fmla="*/ 650033 h 6858000"/>
              <a:gd name="connsiteX589" fmla="*/ 1347047 w 12192000"/>
              <a:gd name="connsiteY589" fmla="*/ 701217 h 6858000"/>
              <a:gd name="connsiteX590" fmla="*/ 1401157 w 12192000"/>
              <a:gd name="connsiteY590" fmla="*/ 701217 h 6858000"/>
              <a:gd name="connsiteX591" fmla="*/ 1430405 w 12192000"/>
              <a:gd name="connsiteY591" fmla="*/ 650033 h 6858000"/>
              <a:gd name="connsiteX592" fmla="*/ 1061875 w 12192000"/>
              <a:gd name="connsiteY592" fmla="*/ 647108 h 6858000"/>
              <a:gd name="connsiteX593" fmla="*/ 1047250 w 12192000"/>
              <a:gd name="connsiteY593" fmla="*/ 648570 h 6858000"/>
              <a:gd name="connsiteX594" fmla="*/ 1029701 w 12192000"/>
              <a:gd name="connsiteY594" fmla="*/ 654420 h 6858000"/>
              <a:gd name="connsiteX595" fmla="*/ 1003378 w 12192000"/>
              <a:gd name="connsiteY595" fmla="*/ 670507 h 6858000"/>
              <a:gd name="connsiteX596" fmla="*/ 956580 w 12192000"/>
              <a:gd name="connsiteY596" fmla="*/ 711454 h 6858000"/>
              <a:gd name="connsiteX597" fmla="*/ 921482 w 12192000"/>
              <a:gd name="connsiteY597" fmla="*/ 737778 h 6858000"/>
              <a:gd name="connsiteX598" fmla="*/ 896621 w 12192000"/>
              <a:gd name="connsiteY598" fmla="*/ 750940 h 6858000"/>
              <a:gd name="connsiteX599" fmla="*/ 874684 w 12192000"/>
              <a:gd name="connsiteY599" fmla="*/ 758252 h 6858000"/>
              <a:gd name="connsiteX600" fmla="*/ 886384 w 12192000"/>
              <a:gd name="connsiteY600" fmla="*/ 729003 h 6858000"/>
              <a:gd name="connsiteX601" fmla="*/ 893696 w 12192000"/>
              <a:gd name="connsiteY601" fmla="*/ 707067 h 6858000"/>
              <a:gd name="connsiteX602" fmla="*/ 896621 w 12192000"/>
              <a:gd name="connsiteY602" fmla="*/ 693905 h 6858000"/>
              <a:gd name="connsiteX603" fmla="*/ 893696 w 12192000"/>
              <a:gd name="connsiteY603" fmla="*/ 671969 h 6858000"/>
              <a:gd name="connsiteX604" fmla="*/ 889309 w 12192000"/>
              <a:gd name="connsiteY604" fmla="*/ 664657 h 6858000"/>
              <a:gd name="connsiteX605" fmla="*/ 876147 w 12192000"/>
              <a:gd name="connsiteY605" fmla="*/ 654420 h 6858000"/>
              <a:gd name="connsiteX606" fmla="*/ 841049 w 12192000"/>
              <a:gd name="connsiteY606" fmla="*/ 652957 h 6858000"/>
              <a:gd name="connsiteX607" fmla="*/ 819112 w 12192000"/>
              <a:gd name="connsiteY607" fmla="*/ 661732 h 6858000"/>
              <a:gd name="connsiteX608" fmla="*/ 789864 w 12192000"/>
              <a:gd name="connsiteY608" fmla="*/ 679281 h 6858000"/>
              <a:gd name="connsiteX609" fmla="*/ 756228 w 12192000"/>
              <a:gd name="connsiteY609" fmla="*/ 707067 h 6858000"/>
              <a:gd name="connsiteX610" fmla="*/ 722592 w 12192000"/>
              <a:gd name="connsiteY610" fmla="*/ 743628 h 6858000"/>
              <a:gd name="connsiteX611" fmla="*/ 677257 w 12192000"/>
              <a:gd name="connsiteY611" fmla="*/ 818211 h 6858000"/>
              <a:gd name="connsiteX612" fmla="*/ 667020 w 12192000"/>
              <a:gd name="connsiteY612" fmla="*/ 848922 h 6858000"/>
              <a:gd name="connsiteX613" fmla="*/ 659708 w 12192000"/>
              <a:gd name="connsiteY613" fmla="*/ 870858 h 6858000"/>
              <a:gd name="connsiteX614" fmla="*/ 659708 w 12192000"/>
              <a:gd name="connsiteY614" fmla="*/ 886945 h 6858000"/>
              <a:gd name="connsiteX615" fmla="*/ 662633 w 12192000"/>
              <a:gd name="connsiteY615" fmla="*/ 898645 h 6858000"/>
              <a:gd name="connsiteX616" fmla="*/ 667020 w 12192000"/>
              <a:gd name="connsiteY616" fmla="*/ 908882 h 6858000"/>
              <a:gd name="connsiteX617" fmla="*/ 674332 w 12192000"/>
              <a:gd name="connsiteY617" fmla="*/ 916194 h 6858000"/>
              <a:gd name="connsiteX618" fmla="*/ 684569 w 12192000"/>
              <a:gd name="connsiteY618" fmla="*/ 920581 h 6858000"/>
              <a:gd name="connsiteX619" fmla="*/ 697731 w 12192000"/>
              <a:gd name="connsiteY619" fmla="*/ 922043 h 6858000"/>
              <a:gd name="connsiteX620" fmla="*/ 713817 w 12192000"/>
              <a:gd name="connsiteY620" fmla="*/ 920581 h 6858000"/>
              <a:gd name="connsiteX621" fmla="*/ 731367 w 12192000"/>
              <a:gd name="connsiteY621" fmla="*/ 914731 h 6858000"/>
              <a:gd name="connsiteX622" fmla="*/ 751841 w 12192000"/>
              <a:gd name="connsiteY622" fmla="*/ 903032 h 6858000"/>
              <a:gd name="connsiteX623" fmla="*/ 778164 w 12192000"/>
              <a:gd name="connsiteY623" fmla="*/ 881095 h 6858000"/>
              <a:gd name="connsiteX624" fmla="*/ 813263 w 12192000"/>
              <a:gd name="connsiteY624" fmla="*/ 840148 h 6858000"/>
              <a:gd name="connsiteX625" fmla="*/ 860060 w 12192000"/>
              <a:gd name="connsiteY625" fmla="*/ 772876 h 6858000"/>
              <a:gd name="connsiteX626" fmla="*/ 899546 w 12192000"/>
              <a:gd name="connsiteY626" fmla="*/ 764102 h 6858000"/>
              <a:gd name="connsiteX627" fmla="*/ 870297 w 12192000"/>
              <a:gd name="connsiteY627" fmla="*/ 821136 h 6858000"/>
              <a:gd name="connsiteX628" fmla="*/ 861523 w 12192000"/>
              <a:gd name="connsiteY628" fmla="*/ 847460 h 6858000"/>
              <a:gd name="connsiteX629" fmla="*/ 864447 w 12192000"/>
              <a:gd name="connsiteY629" fmla="*/ 904494 h 6858000"/>
              <a:gd name="connsiteX630" fmla="*/ 874684 w 12192000"/>
              <a:gd name="connsiteY630" fmla="*/ 917656 h 6858000"/>
              <a:gd name="connsiteX631" fmla="*/ 890771 w 12192000"/>
              <a:gd name="connsiteY631" fmla="*/ 926431 h 6858000"/>
              <a:gd name="connsiteX632" fmla="*/ 911245 w 12192000"/>
              <a:gd name="connsiteY632" fmla="*/ 929355 h 6858000"/>
              <a:gd name="connsiteX633" fmla="*/ 966817 w 12192000"/>
              <a:gd name="connsiteY633" fmla="*/ 911806 h 6858000"/>
              <a:gd name="connsiteX634" fmla="*/ 993141 w 12192000"/>
              <a:gd name="connsiteY634" fmla="*/ 891332 h 6858000"/>
              <a:gd name="connsiteX635" fmla="*/ 1032626 w 12192000"/>
              <a:gd name="connsiteY635" fmla="*/ 851847 h 6858000"/>
              <a:gd name="connsiteX636" fmla="*/ 1031164 w 12192000"/>
              <a:gd name="connsiteY636" fmla="*/ 885483 h 6858000"/>
              <a:gd name="connsiteX637" fmla="*/ 1032626 w 12192000"/>
              <a:gd name="connsiteY637" fmla="*/ 900107 h 6858000"/>
              <a:gd name="connsiteX638" fmla="*/ 1034089 w 12192000"/>
              <a:gd name="connsiteY638" fmla="*/ 907419 h 6858000"/>
              <a:gd name="connsiteX639" fmla="*/ 1037012 w 12192000"/>
              <a:gd name="connsiteY639" fmla="*/ 911806 h 6858000"/>
              <a:gd name="connsiteX640" fmla="*/ 1048713 w 12192000"/>
              <a:gd name="connsiteY640" fmla="*/ 920581 h 6858000"/>
              <a:gd name="connsiteX641" fmla="*/ 1089661 w 12192000"/>
              <a:gd name="connsiteY641" fmla="*/ 916194 h 6858000"/>
              <a:gd name="connsiteX642" fmla="*/ 1108672 w 12192000"/>
              <a:gd name="connsiteY642" fmla="*/ 904494 h 6858000"/>
              <a:gd name="connsiteX643" fmla="*/ 1134996 w 12192000"/>
              <a:gd name="connsiteY643" fmla="*/ 882558 h 6858000"/>
              <a:gd name="connsiteX644" fmla="*/ 1134996 w 12192000"/>
              <a:gd name="connsiteY644" fmla="*/ 897182 h 6858000"/>
              <a:gd name="connsiteX645" fmla="*/ 1136458 w 12192000"/>
              <a:gd name="connsiteY645" fmla="*/ 905957 h 6858000"/>
              <a:gd name="connsiteX646" fmla="*/ 1139383 w 12192000"/>
              <a:gd name="connsiteY646" fmla="*/ 914731 h 6858000"/>
              <a:gd name="connsiteX647" fmla="*/ 1156932 w 12192000"/>
              <a:gd name="connsiteY647" fmla="*/ 923506 h 6858000"/>
              <a:gd name="connsiteX648" fmla="*/ 1167169 w 12192000"/>
              <a:gd name="connsiteY648" fmla="*/ 923506 h 6858000"/>
              <a:gd name="connsiteX649" fmla="*/ 1211042 w 12192000"/>
              <a:gd name="connsiteY649" fmla="*/ 907419 h 6858000"/>
              <a:gd name="connsiteX650" fmla="*/ 1238828 w 12192000"/>
              <a:gd name="connsiteY650" fmla="*/ 884020 h 6858000"/>
              <a:gd name="connsiteX651" fmla="*/ 1272464 w 12192000"/>
              <a:gd name="connsiteY651" fmla="*/ 844535 h 6858000"/>
              <a:gd name="connsiteX652" fmla="*/ 1307562 w 12192000"/>
              <a:gd name="connsiteY652" fmla="*/ 788963 h 6858000"/>
              <a:gd name="connsiteX653" fmla="*/ 1297325 w 12192000"/>
              <a:gd name="connsiteY653" fmla="*/ 786038 h 6858000"/>
              <a:gd name="connsiteX654" fmla="*/ 1256377 w 12192000"/>
              <a:gd name="connsiteY654" fmla="*/ 837223 h 6858000"/>
              <a:gd name="connsiteX655" fmla="*/ 1238828 w 12192000"/>
              <a:gd name="connsiteY655" fmla="*/ 856234 h 6858000"/>
              <a:gd name="connsiteX656" fmla="*/ 1231516 w 12192000"/>
              <a:gd name="connsiteY656" fmla="*/ 862084 h 6858000"/>
              <a:gd name="connsiteX657" fmla="*/ 1219816 w 12192000"/>
              <a:gd name="connsiteY657" fmla="*/ 865009 h 6858000"/>
              <a:gd name="connsiteX658" fmla="*/ 1213967 w 12192000"/>
              <a:gd name="connsiteY658" fmla="*/ 859159 h 6858000"/>
              <a:gd name="connsiteX659" fmla="*/ 1215429 w 12192000"/>
              <a:gd name="connsiteY659" fmla="*/ 851847 h 6858000"/>
              <a:gd name="connsiteX660" fmla="*/ 1224204 w 12192000"/>
              <a:gd name="connsiteY660" fmla="*/ 834298 h 6858000"/>
              <a:gd name="connsiteX661" fmla="*/ 1247602 w 12192000"/>
              <a:gd name="connsiteY661" fmla="*/ 788963 h 6858000"/>
              <a:gd name="connsiteX662" fmla="*/ 1329498 w 12192000"/>
              <a:gd name="connsiteY662" fmla="*/ 650033 h 6858000"/>
              <a:gd name="connsiteX663" fmla="*/ 1278313 w 12192000"/>
              <a:gd name="connsiteY663" fmla="*/ 650033 h 6858000"/>
              <a:gd name="connsiteX664" fmla="*/ 1268076 w 12192000"/>
              <a:gd name="connsiteY664" fmla="*/ 661732 h 6858000"/>
              <a:gd name="connsiteX665" fmla="*/ 1249065 w 12192000"/>
              <a:gd name="connsiteY665" fmla="*/ 651495 h 6858000"/>
              <a:gd name="connsiteX666" fmla="*/ 1237366 w 12192000"/>
              <a:gd name="connsiteY666" fmla="*/ 648570 h 6858000"/>
              <a:gd name="connsiteX667" fmla="*/ 1227129 w 12192000"/>
              <a:gd name="connsiteY667" fmla="*/ 647108 h 6858000"/>
              <a:gd name="connsiteX668" fmla="*/ 1187643 w 12192000"/>
              <a:gd name="connsiteY668" fmla="*/ 658807 h 6858000"/>
              <a:gd name="connsiteX669" fmla="*/ 1167169 w 12192000"/>
              <a:gd name="connsiteY669" fmla="*/ 673431 h 6858000"/>
              <a:gd name="connsiteX670" fmla="*/ 1130609 w 12192000"/>
              <a:gd name="connsiteY670" fmla="*/ 708530 h 6858000"/>
              <a:gd name="connsiteX671" fmla="*/ 1063337 w 12192000"/>
              <a:gd name="connsiteY671" fmla="*/ 787500 h 6858000"/>
              <a:gd name="connsiteX672" fmla="*/ 1010690 w 12192000"/>
              <a:gd name="connsiteY672" fmla="*/ 847460 h 6858000"/>
              <a:gd name="connsiteX673" fmla="*/ 984365 w 12192000"/>
              <a:gd name="connsiteY673" fmla="*/ 870858 h 6858000"/>
              <a:gd name="connsiteX674" fmla="*/ 969742 w 12192000"/>
              <a:gd name="connsiteY674" fmla="*/ 879633 h 6858000"/>
              <a:gd name="connsiteX675" fmla="*/ 960967 w 12192000"/>
              <a:gd name="connsiteY675" fmla="*/ 885483 h 6858000"/>
              <a:gd name="connsiteX676" fmla="*/ 936106 w 12192000"/>
              <a:gd name="connsiteY676" fmla="*/ 882558 h 6858000"/>
              <a:gd name="connsiteX677" fmla="*/ 930257 w 12192000"/>
              <a:gd name="connsiteY677" fmla="*/ 872321 h 6858000"/>
              <a:gd name="connsiteX678" fmla="*/ 931719 w 12192000"/>
              <a:gd name="connsiteY678" fmla="*/ 844535 h 6858000"/>
              <a:gd name="connsiteX679" fmla="*/ 937569 w 12192000"/>
              <a:gd name="connsiteY679" fmla="*/ 825523 h 6858000"/>
              <a:gd name="connsiteX680" fmla="*/ 949268 w 12192000"/>
              <a:gd name="connsiteY680" fmla="*/ 800662 h 6858000"/>
              <a:gd name="connsiteX681" fmla="*/ 968280 w 12192000"/>
              <a:gd name="connsiteY681" fmla="*/ 768489 h 6858000"/>
              <a:gd name="connsiteX682" fmla="*/ 1023852 w 12192000"/>
              <a:gd name="connsiteY682" fmla="*/ 702680 h 6858000"/>
              <a:gd name="connsiteX683" fmla="*/ 1045788 w 12192000"/>
              <a:gd name="connsiteY683" fmla="*/ 685131 h 6858000"/>
              <a:gd name="connsiteX684" fmla="*/ 1057487 w 12192000"/>
              <a:gd name="connsiteY684" fmla="*/ 677819 h 6858000"/>
              <a:gd name="connsiteX685" fmla="*/ 1064799 w 12192000"/>
              <a:gd name="connsiteY685" fmla="*/ 676356 h 6858000"/>
              <a:gd name="connsiteX686" fmla="*/ 1072112 w 12192000"/>
              <a:gd name="connsiteY686" fmla="*/ 679281 h 6858000"/>
              <a:gd name="connsiteX687" fmla="*/ 1076499 w 12192000"/>
              <a:gd name="connsiteY687" fmla="*/ 688056 h 6858000"/>
              <a:gd name="connsiteX688" fmla="*/ 1076499 w 12192000"/>
              <a:gd name="connsiteY688" fmla="*/ 695368 h 6858000"/>
              <a:gd name="connsiteX689" fmla="*/ 1063337 w 12192000"/>
              <a:gd name="connsiteY689" fmla="*/ 698293 h 6858000"/>
              <a:gd name="connsiteX690" fmla="*/ 1054562 w 12192000"/>
              <a:gd name="connsiteY690" fmla="*/ 702680 h 6858000"/>
              <a:gd name="connsiteX691" fmla="*/ 1048713 w 12192000"/>
              <a:gd name="connsiteY691" fmla="*/ 707067 h 6858000"/>
              <a:gd name="connsiteX692" fmla="*/ 1035551 w 12192000"/>
              <a:gd name="connsiteY692" fmla="*/ 734853 h 6858000"/>
              <a:gd name="connsiteX693" fmla="*/ 1041401 w 12192000"/>
              <a:gd name="connsiteY693" fmla="*/ 745090 h 6858000"/>
              <a:gd name="connsiteX694" fmla="*/ 1075036 w 12192000"/>
              <a:gd name="connsiteY694" fmla="*/ 733391 h 6858000"/>
              <a:gd name="connsiteX695" fmla="*/ 1080886 w 12192000"/>
              <a:gd name="connsiteY695" fmla="*/ 724616 h 6858000"/>
              <a:gd name="connsiteX696" fmla="*/ 1094048 w 12192000"/>
              <a:gd name="connsiteY696" fmla="*/ 695368 h 6858000"/>
              <a:gd name="connsiteX697" fmla="*/ 1080886 w 12192000"/>
              <a:gd name="connsiteY697" fmla="*/ 652957 h 6858000"/>
              <a:gd name="connsiteX698" fmla="*/ 1061875 w 12192000"/>
              <a:gd name="connsiteY698" fmla="*/ 647108 h 6858000"/>
              <a:gd name="connsiteX699" fmla="*/ 1771150 w 12192000"/>
              <a:gd name="connsiteY699" fmla="*/ 552050 h 6858000"/>
              <a:gd name="connsiteX700" fmla="*/ 1765301 w 12192000"/>
              <a:gd name="connsiteY700" fmla="*/ 584224 h 6858000"/>
              <a:gd name="connsiteX701" fmla="*/ 1752139 w 12192000"/>
              <a:gd name="connsiteY701" fmla="*/ 622247 h 6858000"/>
              <a:gd name="connsiteX702" fmla="*/ 1736052 w 12192000"/>
              <a:gd name="connsiteY702" fmla="*/ 657345 h 6858000"/>
              <a:gd name="connsiteX703" fmla="*/ 1719965 w 12192000"/>
              <a:gd name="connsiteY703" fmla="*/ 682206 h 6858000"/>
              <a:gd name="connsiteX704" fmla="*/ 1684867 w 12192000"/>
              <a:gd name="connsiteY704" fmla="*/ 712917 h 6858000"/>
              <a:gd name="connsiteX705" fmla="*/ 1652694 w 12192000"/>
              <a:gd name="connsiteY705" fmla="*/ 712917 h 6858000"/>
              <a:gd name="connsiteX706" fmla="*/ 1646843 w 12192000"/>
              <a:gd name="connsiteY706" fmla="*/ 704142 h 6858000"/>
              <a:gd name="connsiteX707" fmla="*/ 1652694 w 12192000"/>
              <a:gd name="connsiteY707" fmla="*/ 670507 h 6858000"/>
              <a:gd name="connsiteX708" fmla="*/ 1661468 w 12192000"/>
              <a:gd name="connsiteY708" fmla="*/ 652957 h 6858000"/>
              <a:gd name="connsiteX709" fmla="*/ 1676093 w 12192000"/>
              <a:gd name="connsiteY709" fmla="*/ 632484 h 6858000"/>
              <a:gd name="connsiteX710" fmla="*/ 1699491 w 12192000"/>
              <a:gd name="connsiteY710" fmla="*/ 607622 h 6858000"/>
              <a:gd name="connsiteX711" fmla="*/ 1733127 w 12192000"/>
              <a:gd name="connsiteY711" fmla="*/ 578374 h 6858000"/>
              <a:gd name="connsiteX712" fmla="*/ 1771150 w 12192000"/>
              <a:gd name="connsiteY712" fmla="*/ 552050 h 6858000"/>
              <a:gd name="connsiteX713" fmla="*/ 2182091 w 12192000"/>
              <a:gd name="connsiteY713" fmla="*/ 509640 h 6858000"/>
              <a:gd name="connsiteX714" fmla="*/ 2151380 w 12192000"/>
              <a:gd name="connsiteY714" fmla="*/ 511102 h 6858000"/>
              <a:gd name="connsiteX715" fmla="*/ 2122132 w 12192000"/>
              <a:gd name="connsiteY715" fmla="*/ 522802 h 6858000"/>
              <a:gd name="connsiteX716" fmla="*/ 2082645 w 12192000"/>
              <a:gd name="connsiteY716" fmla="*/ 549125 h 6858000"/>
              <a:gd name="connsiteX717" fmla="*/ 2028537 w 12192000"/>
              <a:gd name="connsiteY717" fmla="*/ 600310 h 6858000"/>
              <a:gd name="connsiteX718" fmla="*/ 1961265 w 12192000"/>
              <a:gd name="connsiteY718" fmla="*/ 680743 h 6858000"/>
              <a:gd name="connsiteX719" fmla="*/ 1889607 w 12192000"/>
              <a:gd name="connsiteY719" fmla="*/ 784576 h 6858000"/>
              <a:gd name="connsiteX720" fmla="*/ 1828185 w 12192000"/>
              <a:gd name="connsiteY720" fmla="*/ 897182 h 6858000"/>
              <a:gd name="connsiteX721" fmla="*/ 1801861 w 12192000"/>
              <a:gd name="connsiteY721" fmla="*/ 897182 h 6858000"/>
              <a:gd name="connsiteX722" fmla="*/ 1815023 w 12192000"/>
              <a:gd name="connsiteY722" fmla="*/ 867934 h 6858000"/>
              <a:gd name="connsiteX723" fmla="*/ 1820873 w 12192000"/>
              <a:gd name="connsiteY723" fmla="*/ 850385 h 6858000"/>
              <a:gd name="connsiteX724" fmla="*/ 1819410 w 12192000"/>
              <a:gd name="connsiteY724" fmla="*/ 810899 h 6858000"/>
              <a:gd name="connsiteX725" fmla="*/ 1813561 w 12192000"/>
              <a:gd name="connsiteY725" fmla="*/ 802125 h 6858000"/>
              <a:gd name="connsiteX726" fmla="*/ 1787237 w 12192000"/>
              <a:gd name="connsiteY726" fmla="*/ 790425 h 6858000"/>
              <a:gd name="connsiteX727" fmla="*/ 1772613 w 12192000"/>
              <a:gd name="connsiteY727" fmla="*/ 793350 h 6858000"/>
              <a:gd name="connsiteX728" fmla="*/ 1752139 w 12192000"/>
              <a:gd name="connsiteY728" fmla="*/ 800662 h 6858000"/>
              <a:gd name="connsiteX729" fmla="*/ 1727278 w 12192000"/>
              <a:gd name="connsiteY729" fmla="*/ 815286 h 6858000"/>
              <a:gd name="connsiteX730" fmla="*/ 1696567 w 12192000"/>
              <a:gd name="connsiteY730" fmla="*/ 841610 h 6858000"/>
              <a:gd name="connsiteX731" fmla="*/ 1662931 w 12192000"/>
              <a:gd name="connsiteY731" fmla="*/ 878171 h 6858000"/>
              <a:gd name="connsiteX732" fmla="*/ 1611746 w 12192000"/>
              <a:gd name="connsiteY732" fmla="*/ 960066 h 6858000"/>
              <a:gd name="connsiteX733" fmla="*/ 1600047 w 12192000"/>
              <a:gd name="connsiteY733" fmla="*/ 992240 h 6858000"/>
              <a:gd name="connsiteX734" fmla="*/ 1595659 w 12192000"/>
              <a:gd name="connsiteY734" fmla="*/ 1017101 h 6858000"/>
              <a:gd name="connsiteX735" fmla="*/ 1595659 w 12192000"/>
              <a:gd name="connsiteY735" fmla="*/ 1034650 h 6858000"/>
              <a:gd name="connsiteX736" fmla="*/ 1600047 w 12192000"/>
              <a:gd name="connsiteY736" fmla="*/ 1049274 h 6858000"/>
              <a:gd name="connsiteX737" fmla="*/ 1608821 w 12192000"/>
              <a:gd name="connsiteY737" fmla="*/ 1059511 h 6858000"/>
              <a:gd name="connsiteX738" fmla="*/ 1620521 w 12192000"/>
              <a:gd name="connsiteY738" fmla="*/ 1066823 h 6858000"/>
              <a:gd name="connsiteX739" fmla="*/ 1635145 w 12192000"/>
              <a:gd name="connsiteY739" fmla="*/ 1069748 h 6858000"/>
              <a:gd name="connsiteX740" fmla="*/ 1667318 w 12192000"/>
              <a:gd name="connsiteY740" fmla="*/ 1060974 h 6858000"/>
              <a:gd name="connsiteX741" fmla="*/ 1689255 w 12192000"/>
              <a:gd name="connsiteY741" fmla="*/ 1047812 h 6858000"/>
              <a:gd name="connsiteX742" fmla="*/ 1717040 w 12192000"/>
              <a:gd name="connsiteY742" fmla="*/ 1022951 h 6858000"/>
              <a:gd name="connsiteX743" fmla="*/ 1752139 w 12192000"/>
              <a:gd name="connsiteY743" fmla="*/ 980540 h 6858000"/>
              <a:gd name="connsiteX744" fmla="*/ 1794549 w 12192000"/>
              <a:gd name="connsiteY744" fmla="*/ 917656 h 6858000"/>
              <a:gd name="connsiteX745" fmla="*/ 1820873 w 12192000"/>
              <a:gd name="connsiteY745" fmla="*/ 917656 h 6858000"/>
              <a:gd name="connsiteX746" fmla="*/ 1798936 w 12192000"/>
              <a:gd name="connsiteY746" fmla="*/ 977615 h 6858000"/>
              <a:gd name="connsiteX747" fmla="*/ 1791624 w 12192000"/>
              <a:gd name="connsiteY747" fmla="*/ 1003939 h 6858000"/>
              <a:gd name="connsiteX748" fmla="*/ 1788699 w 12192000"/>
              <a:gd name="connsiteY748" fmla="*/ 1034650 h 6858000"/>
              <a:gd name="connsiteX749" fmla="*/ 1791624 w 12192000"/>
              <a:gd name="connsiteY749" fmla="*/ 1046349 h 6858000"/>
              <a:gd name="connsiteX750" fmla="*/ 1796011 w 12192000"/>
              <a:gd name="connsiteY750" fmla="*/ 1056586 h 6858000"/>
              <a:gd name="connsiteX751" fmla="*/ 1803324 w 12192000"/>
              <a:gd name="connsiteY751" fmla="*/ 1063898 h 6858000"/>
              <a:gd name="connsiteX752" fmla="*/ 1813561 w 12192000"/>
              <a:gd name="connsiteY752" fmla="*/ 1068286 h 6858000"/>
              <a:gd name="connsiteX753" fmla="*/ 1825260 w 12192000"/>
              <a:gd name="connsiteY753" fmla="*/ 1069748 h 6858000"/>
              <a:gd name="connsiteX754" fmla="*/ 1870594 w 12192000"/>
              <a:gd name="connsiteY754" fmla="*/ 1053661 h 6858000"/>
              <a:gd name="connsiteX755" fmla="*/ 1892530 w 12192000"/>
              <a:gd name="connsiteY755" fmla="*/ 1034650 h 6858000"/>
              <a:gd name="connsiteX756" fmla="*/ 1921780 w 12192000"/>
              <a:gd name="connsiteY756" fmla="*/ 1003939 h 6858000"/>
              <a:gd name="connsiteX757" fmla="*/ 1920316 w 12192000"/>
              <a:gd name="connsiteY757" fmla="*/ 1024413 h 6858000"/>
              <a:gd name="connsiteX758" fmla="*/ 1921780 w 12192000"/>
              <a:gd name="connsiteY758" fmla="*/ 1039037 h 6858000"/>
              <a:gd name="connsiteX759" fmla="*/ 1924705 w 12192000"/>
              <a:gd name="connsiteY759" fmla="*/ 1047812 h 6858000"/>
              <a:gd name="connsiteX760" fmla="*/ 1927630 w 12192000"/>
              <a:gd name="connsiteY760" fmla="*/ 1055124 h 6858000"/>
              <a:gd name="connsiteX761" fmla="*/ 1934942 w 12192000"/>
              <a:gd name="connsiteY761" fmla="*/ 1063898 h 6858000"/>
              <a:gd name="connsiteX762" fmla="*/ 1951028 w 12192000"/>
              <a:gd name="connsiteY762" fmla="*/ 1068286 h 6858000"/>
              <a:gd name="connsiteX763" fmla="*/ 1961265 w 12192000"/>
              <a:gd name="connsiteY763" fmla="*/ 1066823 h 6858000"/>
              <a:gd name="connsiteX764" fmla="*/ 1984664 w 12192000"/>
              <a:gd name="connsiteY764" fmla="*/ 1058049 h 6858000"/>
              <a:gd name="connsiteX765" fmla="*/ 2000751 w 12192000"/>
              <a:gd name="connsiteY765" fmla="*/ 1044887 h 6858000"/>
              <a:gd name="connsiteX766" fmla="*/ 2025612 w 12192000"/>
              <a:gd name="connsiteY766" fmla="*/ 1021488 h 6858000"/>
              <a:gd name="connsiteX767" fmla="*/ 2024150 w 12192000"/>
              <a:gd name="connsiteY767" fmla="*/ 1039037 h 6858000"/>
              <a:gd name="connsiteX768" fmla="*/ 2025612 w 12192000"/>
              <a:gd name="connsiteY768" fmla="*/ 1049274 h 6858000"/>
              <a:gd name="connsiteX769" fmla="*/ 2027074 w 12192000"/>
              <a:gd name="connsiteY769" fmla="*/ 1056586 h 6858000"/>
              <a:gd name="connsiteX770" fmla="*/ 2038774 w 12192000"/>
              <a:gd name="connsiteY770" fmla="*/ 1068286 h 6858000"/>
              <a:gd name="connsiteX771" fmla="*/ 2081184 w 12192000"/>
              <a:gd name="connsiteY771" fmla="*/ 1060974 h 6858000"/>
              <a:gd name="connsiteX772" fmla="*/ 2101658 w 12192000"/>
              <a:gd name="connsiteY772" fmla="*/ 1047812 h 6858000"/>
              <a:gd name="connsiteX773" fmla="*/ 2127982 w 12192000"/>
              <a:gd name="connsiteY773" fmla="*/ 1024413 h 6858000"/>
              <a:gd name="connsiteX774" fmla="*/ 2160154 w 12192000"/>
              <a:gd name="connsiteY774" fmla="*/ 984927 h 6858000"/>
              <a:gd name="connsiteX775" fmla="*/ 2195253 w 12192000"/>
              <a:gd name="connsiteY775" fmla="*/ 929355 h 6858000"/>
              <a:gd name="connsiteX776" fmla="*/ 2182091 w 12192000"/>
              <a:gd name="connsiteY776" fmla="*/ 929355 h 6858000"/>
              <a:gd name="connsiteX777" fmla="*/ 2152843 w 12192000"/>
              <a:gd name="connsiteY777" fmla="*/ 965916 h 6858000"/>
              <a:gd name="connsiteX778" fmla="*/ 2132368 w 12192000"/>
              <a:gd name="connsiteY778" fmla="*/ 987852 h 6858000"/>
              <a:gd name="connsiteX779" fmla="*/ 2120670 w 12192000"/>
              <a:gd name="connsiteY779" fmla="*/ 998089 h 6858000"/>
              <a:gd name="connsiteX780" fmla="*/ 2113357 w 12192000"/>
              <a:gd name="connsiteY780" fmla="*/ 1003939 h 6858000"/>
              <a:gd name="connsiteX781" fmla="*/ 2101658 w 12192000"/>
              <a:gd name="connsiteY781" fmla="*/ 1006864 h 6858000"/>
              <a:gd name="connsiteX782" fmla="*/ 2097271 w 12192000"/>
              <a:gd name="connsiteY782" fmla="*/ 999552 h 6858000"/>
              <a:gd name="connsiteX783" fmla="*/ 2101658 w 12192000"/>
              <a:gd name="connsiteY783" fmla="*/ 989315 h 6858000"/>
              <a:gd name="connsiteX784" fmla="*/ 2122132 w 12192000"/>
              <a:gd name="connsiteY784" fmla="*/ 949829 h 6858000"/>
              <a:gd name="connsiteX785" fmla="*/ 2218652 w 12192000"/>
              <a:gd name="connsiteY785" fmla="*/ 786038 h 6858000"/>
              <a:gd name="connsiteX786" fmla="*/ 2171854 w 12192000"/>
              <a:gd name="connsiteY786" fmla="*/ 786038 h 6858000"/>
              <a:gd name="connsiteX787" fmla="*/ 2155768 w 12192000"/>
              <a:gd name="connsiteY787" fmla="*/ 800662 h 6858000"/>
              <a:gd name="connsiteX788" fmla="*/ 2139681 w 12192000"/>
              <a:gd name="connsiteY788" fmla="*/ 790425 h 6858000"/>
              <a:gd name="connsiteX789" fmla="*/ 2129444 w 12192000"/>
              <a:gd name="connsiteY789" fmla="*/ 787500 h 6858000"/>
              <a:gd name="connsiteX790" fmla="*/ 2120670 w 12192000"/>
              <a:gd name="connsiteY790" fmla="*/ 786038 h 6858000"/>
              <a:gd name="connsiteX791" fmla="*/ 2070947 w 12192000"/>
              <a:gd name="connsiteY791" fmla="*/ 802125 h 6858000"/>
              <a:gd name="connsiteX792" fmla="*/ 2053398 w 12192000"/>
              <a:gd name="connsiteY792" fmla="*/ 813824 h 6858000"/>
              <a:gd name="connsiteX793" fmla="*/ 2031462 w 12192000"/>
              <a:gd name="connsiteY793" fmla="*/ 832835 h 6858000"/>
              <a:gd name="connsiteX794" fmla="*/ 1996363 w 12192000"/>
              <a:gd name="connsiteY794" fmla="*/ 872321 h 6858000"/>
              <a:gd name="connsiteX795" fmla="*/ 1936404 w 12192000"/>
              <a:gd name="connsiteY795" fmla="*/ 951292 h 6858000"/>
              <a:gd name="connsiteX796" fmla="*/ 1901306 w 12192000"/>
              <a:gd name="connsiteY796" fmla="*/ 995164 h 6858000"/>
              <a:gd name="connsiteX797" fmla="*/ 1888144 w 12192000"/>
              <a:gd name="connsiteY797" fmla="*/ 1008326 h 6858000"/>
              <a:gd name="connsiteX798" fmla="*/ 1880832 w 12192000"/>
              <a:gd name="connsiteY798" fmla="*/ 1012714 h 6858000"/>
              <a:gd name="connsiteX799" fmla="*/ 1873520 w 12192000"/>
              <a:gd name="connsiteY799" fmla="*/ 1014176 h 6858000"/>
              <a:gd name="connsiteX800" fmla="*/ 1863283 w 12192000"/>
              <a:gd name="connsiteY800" fmla="*/ 1002477 h 6858000"/>
              <a:gd name="connsiteX801" fmla="*/ 1866208 w 12192000"/>
              <a:gd name="connsiteY801" fmla="*/ 977615 h 6858000"/>
              <a:gd name="connsiteX802" fmla="*/ 1876445 w 12192000"/>
              <a:gd name="connsiteY802" fmla="*/ 943980 h 6858000"/>
              <a:gd name="connsiteX803" fmla="*/ 1893994 w 12192000"/>
              <a:gd name="connsiteY803" fmla="*/ 894257 h 6858000"/>
              <a:gd name="connsiteX804" fmla="*/ 1993438 w 12192000"/>
              <a:gd name="connsiteY804" fmla="*/ 822599 h 6858000"/>
              <a:gd name="connsiteX805" fmla="*/ 2059248 w 12192000"/>
              <a:gd name="connsiteY805" fmla="*/ 758252 h 6858000"/>
              <a:gd name="connsiteX806" fmla="*/ 2117745 w 12192000"/>
              <a:gd name="connsiteY806" fmla="*/ 679281 h 6858000"/>
              <a:gd name="connsiteX807" fmla="*/ 2095808 w 12192000"/>
              <a:gd name="connsiteY807" fmla="*/ 682206 h 6858000"/>
              <a:gd name="connsiteX808" fmla="*/ 2049011 w 12192000"/>
              <a:gd name="connsiteY808" fmla="*/ 742165 h 6858000"/>
              <a:gd name="connsiteX809" fmla="*/ 1987589 w 12192000"/>
              <a:gd name="connsiteY809" fmla="*/ 803587 h 6858000"/>
              <a:gd name="connsiteX810" fmla="*/ 1914468 w 12192000"/>
              <a:gd name="connsiteY810" fmla="*/ 860622 h 6858000"/>
              <a:gd name="connsiteX811" fmla="*/ 1965652 w 12192000"/>
              <a:gd name="connsiteY811" fmla="*/ 769951 h 6858000"/>
              <a:gd name="connsiteX812" fmla="*/ 2021225 w 12192000"/>
              <a:gd name="connsiteY812" fmla="*/ 685131 h 6858000"/>
              <a:gd name="connsiteX813" fmla="*/ 2075334 w 12192000"/>
              <a:gd name="connsiteY813" fmla="*/ 614934 h 6858000"/>
              <a:gd name="connsiteX814" fmla="*/ 2119207 w 12192000"/>
              <a:gd name="connsiteY814" fmla="*/ 568137 h 6858000"/>
              <a:gd name="connsiteX815" fmla="*/ 2148456 w 12192000"/>
              <a:gd name="connsiteY815" fmla="*/ 543276 h 6858000"/>
              <a:gd name="connsiteX816" fmla="*/ 2164542 w 12192000"/>
              <a:gd name="connsiteY816" fmla="*/ 533039 h 6858000"/>
              <a:gd name="connsiteX817" fmla="*/ 2173317 w 12192000"/>
              <a:gd name="connsiteY817" fmla="*/ 530114 h 6858000"/>
              <a:gd name="connsiteX818" fmla="*/ 2177704 w 12192000"/>
              <a:gd name="connsiteY818" fmla="*/ 531576 h 6858000"/>
              <a:gd name="connsiteX819" fmla="*/ 2180629 w 12192000"/>
              <a:gd name="connsiteY819" fmla="*/ 543276 h 6858000"/>
              <a:gd name="connsiteX820" fmla="*/ 2177704 w 12192000"/>
              <a:gd name="connsiteY820" fmla="*/ 552050 h 6858000"/>
              <a:gd name="connsiteX821" fmla="*/ 2167467 w 12192000"/>
              <a:gd name="connsiteY821" fmla="*/ 576911 h 6858000"/>
              <a:gd name="connsiteX822" fmla="*/ 2186479 w 12192000"/>
              <a:gd name="connsiteY822" fmla="*/ 573987 h 6858000"/>
              <a:gd name="connsiteX823" fmla="*/ 2195253 w 12192000"/>
              <a:gd name="connsiteY823" fmla="*/ 557900 h 6858000"/>
              <a:gd name="connsiteX824" fmla="*/ 2198178 w 12192000"/>
              <a:gd name="connsiteY824" fmla="*/ 549125 h 6858000"/>
              <a:gd name="connsiteX825" fmla="*/ 2199640 w 12192000"/>
              <a:gd name="connsiteY825" fmla="*/ 540351 h 6858000"/>
              <a:gd name="connsiteX826" fmla="*/ 2189403 w 12192000"/>
              <a:gd name="connsiteY826" fmla="*/ 514027 h 6858000"/>
              <a:gd name="connsiteX827" fmla="*/ 2182091 w 12192000"/>
              <a:gd name="connsiteY827" fmla="*/ 509640 h 6858000"/>
              <a:gd name="connsiteX828" fmla="*/ 2318097 w 12192000"/>
              <a:gd name="connsiteY828" fmla="*/ 508178 h 6858000"/>
              <a:gd name="connsiteX829" fmla="*/ 2244976 w 12192000"/>
              <a:gd name="connsiteY829" fmla="*/ 560825 h 6858000"/>
              <a:gd name="connsiteX830" fmla="*/ 2177704 w 12192000"/>
              <a:gd name="connsiteY830" fmla="*/ 590073 h 6858000"/>
              <a:gd name="connsiteX831" fmla="*/ 2100196 w 12192000"/>
              <a:gd name="connsiteY831" fmla="*/ 598848 h 6858000"/>
              <a:gd name="connsiteX832" fmla="*/ 2051936 w 12192000"/>
              <a:gd name="connsiteY832" fmla="*/ 657345 h 6858000"/>
              <a:gd name="connsiteX833" fmla="*/ 2063635 w 12192000"/>
              <a:gd name="connsiteY833" fmla="*/ 658807 h 6858000"/>
              <a:gd name="connsiteX834" fmla="*/ 2087034 w 12192000"/>
              <a:gd name="connsiteY834" fmla="*/ 660270 h 6858000"/>
              <a:gd name="connsiteX835" fmla="*/ 2139681 w 12192000"/>
              <a:gd name="connsiteY835" fmla="*/ 652957 h 6858000"/>
              <a:gd name="connsiteX836" fmla="*/ 2250825 w 12192000"/>
              <a:gd name="connsiteY836" fmla="*/ 594461 h 6858000"/>
              <a:gd name="connsiteX837" fmla="*/ 2291773 w 12192000"/>
              <a:gd name="connsiteY837" fmla="*/ 552050 h 6858000"/>
              <a:gd name="connsiteX838" fmla="*/ 2318097 w 12192000"/>
              <a:gd name="connsiteY838" fmla="*/ 508178 h 6858000"/>
              <a:gd name="connsiteX839" fmla="*/ 851286 w 12192000"/>
              <a:gd name="connsiteY839" fmla="*/ 505253 h 6858000"/>
              <a:gd name="connsiteX840" fmla="*/ 819112 w 12192000"/>
              <a:gd name="connsiteY840" fmla="*/ 509640 h 6858000"/>
              <a:gd name="connsiteX841" fmla="*/ 776702 w 12192000"/>
              <a:gd name="connsiteY841" fmla="*/ 524264 h 6858000"/>
              <a:gd name="connsiteX842" fmla="*/ 724055 w 12192000"/>
              <a:gd name="connsiteY842" fmla="*/ 553513 h 6858000"/>
              <a:gd name="connsiteX843" fmla="*/ 661171 w 12192000"/>
              <a:gd name="connsiteY843" fmla="*/ 601773 h 6858000"/>
              <a:gd name="connsiteX844" fmla="*/ 595361 w 12192000"/>
              <a:gd name="connsiteY844" fmla="*/ 669044 h 6858000"/>
              <a:gd name="connsiteX845" fmla="*/ 500303 w 12192000"/>
              <a:gd name="connsiteY845" fmla="*/ 813824 h 6858000"/>
              <a:gd name="connsiteX846" fmla="*/ 478367 w 12192000"/>
              <a:gd name="connsiteY846" fmla="*/ 870858 h 6858000"/>
              <a:gd name="connsiteX847" fmla="*/ 469592 w 12192000"/>
              <a:gd name="connsiteY847" fmla="*/ 916194 h 6858000"/>
              <a:gd name="connsiteX848" fmla="*/ 473980 w 12192000"/>
              <a:gd name="connsiteY848" fmla="*/ 974691 h 6858000"/>
              <a:gd name="connsiteX849" fmla="*/ 479830 w 12192000"/>
              <a:gd name="connsiteY849" fmla="*/ 995164 h 6858000"/>
              <a:gd name="connsiteX850" fmla="*/ 488605 w 12192000"/>
              <a:gd name="connsiteY850" fmla="*/ 1012714 h 6858000"/>
              <a:gd name="connsiteX851" fmla="*/ 500303 w 12192000"/>
              <a:gd name="connsiteY851" fmla="*/ 1028800 h 6858000"/>
              <a:gd name="connsiteX852" fmla="*/ 516391 w 12192000"/>
              <a:gd name="connsiteY852" fmla="*/ 1041962 h 6858000"/>
              <a:gd name="connsiteX853" fmla="*/ 539788 w 12192000"/>
              <a:gd name="connsiteY853" fmla="*/ 1053661 h 6858000"/>
              <a:gd name="connsiteX854" fmla="*/ 571963 w 12192000"/>
              <a:gd name="connsiteY854" fmla="*/ 1062436 h 6858000"/>
              <a:gd name="connsiteX855" fmla="*/ 615835 w 12192000"/>
              <a:gd name="connsiteY855" fmla="*/ 1065361 h 6858000"/>
              <a:gd name="connsiteX856" fmla="*/ 705043 w 12192000"/>
              <a:gd name="connsiteY856" fmla="*/ 1055124 h 6858000"/>
              <a:gd name="connsiteX857" fmla="*/ 845436 w 12192000"/>
              <a:gd name="connsiteY857" fmla="*/ 1021488 h 6858000"/>
              <a:gd name="connsiteX858" fmla="*/ 936106 w 12192000"/>
              <a:gd name="connsiteY858" fmla="*/ 1011251 h 6858000"/>
              <a:gd name="connsiteX859" fmla="*/ 978517 w 12192000"/>
              <a:gd name="connsiteY859" fmla="*/ 1014176 h 6858000"/>
              <a:gd name="connsiteX860" fmla="*/ 1009226 w 12192000"/>
              <a:gd name="connsiteY860" fmla="*/ 1022951 h 6858000"/>
              <a:gd name="connsiteX861" fmla="*/ 1034089 w 12192000"/>
              <a:gd name="connsiteY861" fmla="*/ 1039037 h 6858000"/>
              <a:gd name="connsiteX862" fmla="*/ 1060412 w 12192000"/>
              <a:gd name="connsiteY862" fmla="*/ 1065361 h 6858000"/>
              <a:gd name="connsiteX863" fmla="*/ 1134996 w 12192000"/>
              <a:gd name="connsiteY863" fmla="*/ 1033187 h 6858000"/>
              <a:gd name="connsiteX864" fmla="*/ 1164244 w 12192000"/>
              <a:gd name="connsiteY864" fmla="*/ 1030263 h 6858000"/>
              <a:gd name="connsiteX865" fmla="*/ 1177406 w 12192000"/>
              <a:gd name="connsiteY865" fmla="*/ 1031725 h 6858000"/>
              <a:gd name="connsiteX866" fmla="*/ 1202266 w 12192000"/>
              <a:gd name="connsiteY866" fmla="*/ 1037575 h 6858000"/>
              <a:gd name="connsiteX867" fmla="*/ 1265152 w 12192000"/>
              <a:gd name="connsiteY867" fmla="*/ 1060974 h 6858000"/>
              <a:gd name="connsiteX868" fmla="*/ 1192030 w 12192000"/>
              <a:gd name="connsiteY868" fmla="*/ 1005401 h 6858000"/>
              <a:gd name="connsiteX869" fmla="*/ 1121834 w 12192000"/>
              <a:gd name="connsiteY869" fmla="*/ 977615 h 6858000"/>
              <a:gd name="connsiteX870" fmla="*/ 1035551 w 12192000"/>
              <a:gd name="connsiteY870" fmla="*/ 968841 h 6858000"/>
              <a:gd name="connsiteX871" fmla="*/ 931719 w 12192000"/>
              <a:gd name="connsiteY871" fmla="*/ 980540 h 6858000"/>
              <a:gd name="connsiteX872" fmla="*/ 763539 w 12192000"/>
              <a:gd name="connsiteY872" fmla="*/ 1024413 h 6858000"/>
              <a:gd name="connsiteX873" fmla="*/ 669945 w 12192000"/>
              <a:gd name="connsiteY873" fmla="*/ 1039037 h 6858000"/>
              <a:gd name="connsiteX874" fmla="*/ 637772 w 12192000"/>
              <a:gd name="connsiteY874" fmla="*/ 1036112 h 6858000"/>
              <a:gd name="connsiteX875" fmla="*/ 611448 w 12192000"/>
              <a:gd name="connsiteY875" fmla="*/ 1028800 h 6858000"/>
              <a:gd name="connsiteX876" fmla="*/ 592437 w 12192000"/>
              <a:gd name="connsiteY876" fmla="*/ 1018563 h 6858000"/>
              <a:gd name="connsiteX877" fmla="*/ 577812 w 12192000"/>
              <a:gd name="connsiteY877" fmla="*/ 1005401 h 6858000"/>
              <a:gd name="connsiteX878" fmla="*/ 567574 w 12192000"/>
              <a:gd name="connsiteY878" fmla="*/ 989315 h 6858000"/>
              <a:gd name="connsiteX879" fmla="*/ 560263 w 12192000"/>
              <a:gd name="connsiteY879" fmla="*/ 971766 h 6858000"/>
              <a:gd name="connsiteX880" fmla="*/ 557338 w 12192000"/>
              <a:gd name="connsiteY880" fmla="*/ 949829 h 6858000"/>
              <a:gd name="connsiteX881" fmla="*/ 557338 w 12192000"/>
              <a:gd name="connsiteY881" fmla="*/ 926431 h 6858000"/>
              <a:gd name="connsiteX882" fmla="*/ 566113 w 12192000"/>
              <a:gd name="connsiteY882" fmla="*/ 885483 h 6858000"/>
              <a:gd name="connsiteX883" fmla="*/ 590974 w 12192000"/>
              <a:gd name="connsiteY883" fmla="*/ 822599 h 6858000"/>
              <a:gd name="connsiteX884" fmla="*/ 637772 w 12192000"/>
              <a:gd name="connsiteY884" fmla="*/ 739240 h 6858000"/>
              <a:gd name="connsiteX885" fmla="*/ 696268 w 12192000"/>
              <a:gd name="connsiteY885" fmla="*/ 655882 h 6858000"/>
              <a:gd name="connsiteX886" fmla="*/ 750378 w 12192000"/>
              <a:gd name="connsiteY886" fmla="*/ 595923 h 6858000"/>
              <a:gd name="connsiteX887" fmla="*/ 792789 w 12192000"/>
              <a:gd name="connsiteY887" fmla="*/ 559362 h 6858000"/>
              <a:gd name="connsiteX888" fmla="*/ 823500 w 12192000"/>
              <a:gd name="connsiteY888" fmla="*/ 540351 h 6858000"/>
              <a:gd name="connsiteX889" fmla="*/ 846898 w 12192000"/>
              <a:gd name="connsiteY889" fmla="*/ 531576 h 6858000"/>
              <a:gd name="connsiteX890" fmla="*/ 865910 w 12192000"/>
              <a:gd name="connsiteY890" fmla="*/ 528651 h 6858000"/>
              <a:gd name="connsiteX891" fmla="*/ 876147 w 12192000"/>
              <a:gd name="connsiteY891" fmla="*/ 531576 h 6858000"/>
              <a:gd name="connsiteX892" fmla="*/ 879072 w 12192000"/>
              <a:gd name="connsiteY892" fmla="*/ 541813 h 6858000"/>
              <a:gd name="connsiteX893" fmla="*/ 879072 w 12192000"/>
              <a:gd name="connsiteY893" fmla="*/ 549125 h 6858000"/>
              <a:gd name="connsiteX894" fmla="*/ 852748 w 12192000"/>
              <a:gd name="connsiteY894" fmla="*/ 566674 h 6858000"/>
              <a:gd name="connsiteX895" fmla="*/ 843974 w 12192000"/>
              <a:gd name="connsiteY895" fmla="*/ 575449 h 6858000"/>
              <a:gd name="connsiteX896" fmla="*/ 833737 w 12192000"/>
              <a:gd name="connsiteY896" fmla="*/ 594461 h 6858000"/>
              <a:gd name="connsiteX897" fmla="*/ 841049 w 12192000"/>
              <a:gd name="connsiteY897" fmla="*/ 609085 h 6858000"/>
              <a:gd name="connsiteX898" fmla="*/ 879072 w 12192000"/>
              <a:gd name="connsiteY898" fmla="*/ 595923 h 6858000"/>
              <a:gd name="connsiteX899" fmla="*/ 886384 w 12192000"/>
              <a:gd name="connsiteY899" fmla="*/ 585686 h 6858000"/>
              <a:gd name="connsiteX900" fmla="*/ 892233 w 12192000"/>
              <a:gd name="connsiteY900" fmla="*/ 572524 h 6858000"/>
              <a:gd name="connsiteX901" fmla="*/ 892233 w 12192000"/>
              <a:gd name="connsiteY901" fmla="*/ 521339 h 6858000"/>
              <a:gd name="connsiteX902" fmla="*/ 883459 w 12192000"/>
              <a:gd name="connsiteY902" fmla="*/ 512565 h 6858000"/>
              <a:gd name="connsiteX903" fmla="*/ 870297 w 12192000"/>
              <a:gd name="connsiteY903" fmla="*/ 506715 h 6858000"/>
              <a:gd name="connsiteX904" fmla="*/ 851286 w 12192000"/>
              <a:gd name="connsiteY904" fmla="*/ 505253 h 6858000"/>
              <a:gd name="connsiteX905" fmla="*/ 1726180 w 12192000"/>
              <a:gd name="connsiteY905" fmla="*/ 502876 h 6858000"/>
              <a:gd name="connsiteX906" fmla="*/ 1698029 w 12192000"/>
              <a:gd name="connsiteY906" fmla="*/ 509640 h 6858000"/>
              <a:gd name="connsiteX907" fmla="*/ 1642457 w 12192000"/>
              <a:gd name="connsiteY907" fmla="*/ 533039 h 6858000"/>
              <a:gd name="connsiteX908" fmla="*/ 1569336 w 12192000"/>
              <a:gd name="connsiteY908" fmla="*/ 579836 h 6858000"/>
              <a:gd name="connsiteX909" fmla="*/ 1493290 w 12192000"/>
              <a:gd name="connsiteY909" fmla="*/ 645645 h 6858000"/>
              <a:gd name="connsiteX910" fmla="*/ 1427481 w 12192000"/>
              <a:gd name="connsiteY910" fmla="*/ 720229 h 6858000"/>
              <a:gd name="connsiteX911" fmla="*/ 1380683 w 12192000"/>
              <a:gd name="connsiteY911" fmla="*/ 790425 h 6858000"/>
              <a:gd name="connsiteX912" fmla="*/ 1349972 w 12192000"/>
              <a:gd name="connsiteY912" fmla="*/ 853309 h 6858000"/>
              <a:gd name="connsiteX913" fmla="*/ 1332423 w 12192000"/>
              <a:gd name="connsiteY913" fmla="*/ 907419 h 6858000"/>
              <a:gd name="connsiteX914" fmla="*/ 1325111 w 12192000"/>
              <a:gd name="connsiteY914" fmla="*/ 952754 h 6858000"/>
              <a:gd name="connsiteX915" fmla="*/ 1325111 w 12192000"/>
              <a:gd name="connsiteY915" fmla="*/ 984927 h 6858000"/>
              <a:gd name="connsiteX916" fmla="*/ 1332423 w 12192000"/>
              <a:gd name="connsiteY916" fmla="*/ 1011251 h 6858000"/>
              <a:gd name="connsiteX917" fmla="*/ 1345585 w 12192000"/>
              <a:gd name="connsiteY917" fmla="*/ 1034650 h 6858000"/>
              <a:gd name="connsiteX918" fmla="*/ 1366059 w 12192000"/>
              <a:gd name="connsiteY918" fmla="*/ 1053661 h 6858000"/>
              <a:gd name="connsiteX919" fmla="*/ 1390920 w 12192000"/>
              <a:gd name="connsiteY919" fmla="*/ 1065361 h 6858000"/>
              <a:gd name="connsiteX920" fmla="*/ 1449417 w 12192000"/>
              <a:gd name="connsiteY920" fmla="*/ 1065361 h 6858000"/>
              <a:gd name="connsiteX921" fmla="*/ 1485978 w 12192000"/>
              <a:gd name="connsiteY921" fmla="*/ 1049274 h 6858000"/>
              <a:gd name="connsiteX922" fmla="*/ 1567873 w 12192000"/>
              <a:gd name="connsiteY922" fmla="*/ 982003 h 6858000"/>
              <a:gd name="connsiteX923" fmla="*/ 1620521 w 12192000"/>
              <a:gd name="connsiteY923" fmla="*/ 900107 h 6858000"/>
              <a:gd name="connsiteX924" fmla="*/ 1629295 w 12192000"/>
              <a:gd name="connsiteY924" fmla="*/ 865009 h 6858000"/>
              <a:gd name="connsiteX925" fmla="*/ 1635145 w 12192000"/>
              <a:gd name="connsiteY925" fmla="*/ 831373 h 6858000"/>
              <a:gd name="connsiteX926" fmla="*/ 1633682 w 12192000"/>
              <a:gd name="connsiteY926" fmla="*/ 807974 h 6858000"/>
              <a:gd name="connsiteX927" fmla="*/ 1630758 w 12192000"/>
              <a:gd name="connsiteY927" fmla="*/ 800662 h 6858000"/>
              <a:gd name="connsiteX928" fmla="*/ 1619058 w 12192000"/>
              <a:gd name="connsiteY928" fmla="*/ 790425 h 6858000"/>
              <a:gd name="connsiteX929" fmla="*/ 1610284 w 12192000"/>
              <a:gd name="connsiteY929" fmla="*/ 787500 h 6858000"/>
              <a:gd name="connsiteX930" fmla="*/ 1597122 w 12192000"/>
              <a:gd name="connsiteY930" fmla="*/ 786038 h 6858000"/>
              <a:gd name="connsiteX931" fmla="*/ 1581035 w 12192000"/>
              <a:gd name="connsiteY931" fmla="*/ 787500 h 6858000"/>
              <a:gd name="connsiteX932" fmla="*/ 1512301 w 12192000"/>
              <a:gd name="connsiteY932" fmla="*/ 829911 h 6858000"/>
              <a:gd name="connsiteX933" fmla="*/ 1494752 w 12192000"/>
              <a:gd name="connsiteY933" fmla="*/ 853309 h 6858000"/>
              <a:gd name="connsiteX934" fmla="*/ 1477203 w 12192000"/>
              <a:gd name="connsiteY934" fmla="*/ 884020 h 6858000"/>
              <a:gd name="connsiteX935" fmla="*/ 1462579 w 12192000"/>
              <a:gd name="connsiteY935" fmla="*/ 920581 h 6858000"/>
              <a:gd name="connsiteX936" fmla="*/ 1452342 w 12192000"/>
              <a:gd name="connsiteY936" fmla="*/ 960066 h 6858000"/>
              <a:gd name="connsiteX937" fmla="*/ 1485978 w 12192000"/>
              <a:gd name="connsiteY937" fmla="*/ 933743 h 6858000"/>
              <a:gd name="connsiteX938" fmla="*/ 1507914 w 12192000"/>
              <a:gd name="connsiteY938" fmla="*/ 919118 h 6858000"/>
              <a:gd name="connsiteX939" fmla="*/ 1534238 w 12192000"/>
              <a:gd name="connsiteY939" fmla="*/ 905957 h 6858000"/>
              <a:gd name="connsiteX940" fmla="*/ 1548862 w 12192000"/>
              <a:gd name="connsiteY940" fmla="*/ 863546 h 6858000"/>
              <a:gd name="connsiteX941" fmla="*/ 1557636 w 12192000"/>
              <a:gd name="connsiteY941" fmla="*/ 847460 h 6858000"/>
              <a:gd name="connsiteX942" fmla="*/ 1566411 w 12192000"/>
              <a:gd name="connsiteY942" fmla="*/ 835760 h 6858000"/>
              <a:gd name="connsiteX943" fmla="*/ 1588347 w 12192000"/>
              <a:gd name="connsiteY943" fmla="*/ 818211 h 6858000"/>
              <a:gd name="connsiteX944" fmla="*/ 1616132 w 12192000"/>
              <a:gd name="connsiteY944" fmla="*/ 821136 h 6858000"/>
              <a:gd name="connsiteX945" fmla="*/ 1620521 w 12192000"/>
              <a:gd name="connsiteY945" fmla="*/ 834298 h 6858000"/>
              <a:gd name="connsiteX946" fmla="*/ 1610284 w 12192000"/>
              <a:gd name="connsiteY946" fmla="*/ 886945 h 6858000"/>
              <a:gd name="connsiteX947" fmla="*/ 1598584 w 12192000"/>
              <a:gd name="connsiteY947" fmla="*/ 913269 h 6858000"/>
              <a:gd name="connsiteX948" fmla="*/ 1581035 w 12192000"/>
              <a:gd name="connsiteY948" fmla="*/ 941055 h 6858000"/>
              <a:gd name="connsiteX949" fmla="*/ 1526925 w 12192000"/>
              <a:gd name="connsiteY949" fmla="*/ 996627 h 6858000"/>
              <a:gd name="connsiteX950" fmla="*/ 1471353 w 12192000"/>
              <a:gd name="connsiteY950" fmla="*/ 1028800 h 6858000"/>
              <a:gd name="connsiteX951" fmla="*/ 1453803 w 12192000"/>
              <a:gd name="connsiteY951" fmla="*/ 1031725 h 6858000"/>
              <a:gd name="connsiteX952" fmla="*/ 1439180 w 12192000"/>
              <a:gd name="connsiteY952" fmla="*/ 1030263 h 6858000"/>
              <a:gd name="connsiteX953" fmla="*/ 1414319 w 12192000"/>
              <a:gd name="connsiteY953" fmla="*/ 1012714 h 6858000"/>
              <a:gd name="connsiteX954" fmla="*/ 1405544 w 12192000"/>
              <a:gd name="connsiteY954" fmla="*/ 998089 h 6858000"/>
              <a:gd name="connsiteX955" fmla="*/ 1401157 w 12192000"/>
              <a:gd name="connsiteY955" fmla="*/ 965916 h 6858000"/>
              <a:gd name="connsiteX956" fmla="*/ 1412856 w 12192000"/>
              <a:gd name="connsiteY956" fmla="*/ 922043 h 6858000"/>
              <a:gd name="connsiteX957" fmla="*/ 1449417 w 12192000"/>
              <a:gd name="connsiteY957" fmla="*/ 840148 h 6858000"/>
              <a:gd name="connsiteX958" fmla="*/ 1507914 w 12192000"/>
              <a:gd name="connsiteY958" fmla="*/ 740703 h 6858000"/>
              <a:gd name="connsiteX959" fmla="*/ 1566411 w 12192000"/>
              <a:gd name="connsiteY959" fmla="*/ 661732 h 6858000"/>
              <a:gd name="connsiteX960" fmla="*/ 1611746 w 12192000"/>
              <a:gd name="connsiteY960" fmla="*/ 609085 h 6858000"/>
              <a:gd name="connsiteX961" fmla="*/ 1649768 w 12192000"/>
              <a:gd name="connsiteY961" fmla="*/ 575449 h 6858000"/>
              <a:gd name="connsiteX962" fmla="*/ 1680480 w 12192000"/>
              <a:gd name="connsiteY962" fmla="*/ 554975 h 6858000"/>
              <a:gd name="connsiteX963" fmla="*/ 1705341 w 12192000"/>
              <a:gd name="connsiteY963" fmla="*/ 543276 h 6858000"/>
              <a:gd name="connsiteX964" fmla="*/ 1763838 w 12192000"/>
              <a:gd name="connsiteY964" fmla="*/ 535964 h 6858000"/>
              <a:gd name="connsiteX965" fmla="*/ 1719965 w 12192000"/>
              <a:gd name="connsiteY965" fmla="*/ 565212 h 6858000"/>
              <a:gd name="connsiteX966" fmla="*/ 1660006 w 12192000"/>
              <a:gd name="connsiteY966" fmla="*/ 628096 h 6858000"/>
              <a:gd name="connsiteX967" fmla="*/ 1643918 w 12192000"/>
              <a:gd name="connsiteY967" fmla="*/ 654420 h 6858000"/>
              <a:gd name="connsiteX968" fmla="*/ 1635145 w 12192000"/>
              <a:gd name="connsiteY968" fmla="*/ 677819 h 6858000"/>
              <a:gd name="connsiteX969" fmla="*/ 1630758 w 12192000"/>
              <a:gd name="connsiteY969" fmla="*/ 696830 h 6858000"/>
              <a:gd name="connsiteX970" fmla="*/ 1630758 w 12192000"/>
              <a:gd name="connsiteY970" fmla="*/ 709992 h 6858000"/>
              <a:gd name="connsiteX971" fmla="*/ 1633682 w 12192000"/>
              <a:gd name="connsiteY971" fmla="*/ 718766 h 6858000"/>
              <a:gd name="connsiteX972" fmla="*/ 1638070 w 12192000"/>
              <a:gd name="connsiteY972" fmla="*/ 726079 h 6858000"/>
              <a:gd name="connsiteX973" fmla="*/ 1643918 w 12192000"/>
              <a:gd name="connsiteY973" fmla="*/ 731928 h 6858000"/>
              <a:gd name="connsiteX974" fmla="*/ 1652694 w 12192000"/>
              <a:gd name="connsiteY974" fmla="*/ 734853 h 6858000"/>
              <a:gd name="connsiteX975" fmla="*/ 1664393 w 12192000"/>
              <a:gd name="connsiteY975" fmla="*/ 736316 h 6858000"/>
              <a:gd name="connsiteX976" fmla="*/ 1690717 w 12192000"/>
              <a:gd name="connsiteY976" fmla="*/ 729003 h 6858000"/>
              <a:gd name="connsiteX977" fmla="*/ 1708266 w 12192000"/>
              <a:gd name="connsiteY977" fmla="*/ 718766 h 6858000"/>
              <a:gd name="connsiteX978" fmla="*/ 1728740 w 12192000"/>
              <a:gd name="connsiteY978" fmla="*/ 701217 h 6858000"/>
              <a:gd name="connsiteX979" fmla="*/ 1749214 w 12192000"/>
              <a:gd name="connsiteY979" fmla="*/ 676356 h 6858000"/>
              <a:gd name="connsiteX980" fmla="*/ 1768225 w 12192000"/>
              <a:gd name="connsiteY980" fmla="*/ 647108 h 6858000"/>
              <a:gd name="connsiteX981" fmla="*/ 1790162 w 12192000"/>
              <a:gd name="connsiteY981" fmla="*/ 592998 h 6858000"/>
              <a:gd name="connsiteX982" fmla="*/ 1794549 w 12192000"/>
              <a:gd name="connsiteY982" fmla="*/ 571062 h 6858000"/>
              <a:gd name="connsiteX983" fmla="*/ 1794549 w 12192000"/>
              <a:gd name="connsiteY983" fmla="*/ 563750 h 6858000"/>
              <a:gd name="connsiteX984" fmla="*/ 1794549 w 12192000"/>
              <a:gd name="connsiteY984" fmla="*/ 550588 h 6858000"/>
              <a:gd name="connsiteX985" fmla="*/ 1794549 w 12192000"/>
              <a:gd name="connsiteY985" fmla="*/ 541813 h 6858000"/>
              <a:gd name="connsiteX986" fmla="*/ 1847196 w 12192000"/>
              <a:gd name="connsiteY986" fmla="*/ 547663 h 6858000"/>
              <a:gd name="connsiteX987" fmla="*/ 1901306 w 12192000"/>
              <a:gd name="connsiteY987" fmla="*/ 572524 h 6858000"/>
              <a:gd name="connsiteX988" fmla="*/ 1980277 w 12192000"/>
              <a:gd name="connsiteY988" fmla="*/ 631021 h 6858000"/>
              <a:gd name="connsiteX989" fmla="*/ 2032924 w 12192000"/>
              <a:gd name="connsiteY989" fmla="*/ 576911 h 6858000"/>
              <a:gd name="connsiteX990" fmla="*/ 1981739 w 12192000"/>
              <a:gd name="connsiteY990" fmla="*/ 537426 h 6858000"/>
              <a:gd name="connsiteX991" fmla="*/ 1940791 w 12192000"/>
              <a:gd name="connsiteY991" fmla="*/ 515490 h 6858000"/>
              <a:gd name="connsiteX992" fmla="*/ 1908618 w 12192000"/>
              <a:gd name="connsiteY992" fmla="*/ 505253 h 6858000"/>
              <a:gd name="connsiteX993" fmla="*/ 1864744 w 12192000"/>
              <a:gd name="connsiteY993" fmla="*/ 503790 h 6858000"/>
              <a:gd name="connsiteX994" fmla="*/ 1841347 w 12192000"/>
              <a:gd name="connsiteY994" fmla="*/ 508178 h 6858000"/>
              <a:gd name="connsiteX995" fmla="*/ 1794549 w 12192000"/>
              <a:gd name="connsiteY995" fmla="*/ 522802 h 6858000"/>
              <a:gd name="connsiteX996" fmla="*/ 1768225 w 12192000"/>
              <a:gd name="connsiteY996" fmla="*/ 508178 h 6858000"/>
              <a:gd name="connsiteX997" fmla="*/ 1752139 w 12192000"/>
              <a:gd name="connsiteY997" fmla="*/ 503790 h 6858000"/>
              <a:gd name="connsiteX998" fmla="*/ 1726180 w 12192000"/>
              <a:gd name="connsiteY998" fmla="*/ 502876 h 6858000"/>
              <a:gd name="connsiteX999" fmla="*/ 0 w 12192000"/>
              <a:gd name="connsiteY999" fmla="*/ 0 h 6858000"/>
              <a:gd name="connsiteX1000" fmla="*/ 12192000 w 12192000"/>
              <a:gd name="connsiteY1000" fmla="*/ 0 h 6858000"/>
              <a:gd name="connsiteX1001" fmla="*/ 12192000 w 12192000"/>
              <a:gd name="connsiteY1001" fmla="*/ 6858000 h 6858000"/>
              <a:gd name="connsiteX1002" fmla="*/ 0 w 12192000"/>
              <a:gd name="connsiteY1002" fmla="*/ 6858000 h 6858000"/>
              <a:gd name="connsiteX1003" fmla="*/ 0 w 12192000"/>
              <a:gd name="connsiteY1003" fmla="*/ 5859345 h 6858000"/>
              <a:gd name="connsiteX1004" fmla="*/ 6587067 w 12192000"/>
              <a:gd name="connsiteY1004" fmla="*/ 5859345 h 6858000"/>
              <a:gd name="connsiteX1005" fmla="*/ 6587067 w 12192000"/>
              <a:gd name="connsiteY1005" fmla="*/ 4673658 h 6858000"/>
              <a:gd name="connsiteX1006" fmla="*/ 0 w 12192000"/>
              <a:gd name="connsiteY1006" fmla="*/ 4673658 h 6858000"/>
              <a:gd name="connsiteX1007" fmla="*/ 0 w 12192000"/>
              <a:gd name="connsiteY1007" fmla="*/ 4397961 h 6858000"/>
              <a:gd name="connsiteX1008" fmla="*/ 4672121 w 12192000"/>
              <a:gd name="connsiteY1008" fmla="*/ 4397961 h 6858000"/>
              <a:gd name="connsiteX1009" fmla="*/ 4672121 w 12192000"/>
              <a:gd name="connsiteY1009" fmla="*/ 4351438 h 6858000"/>
              <a:gd name="connsiteX1010" fmla="*/ 0 w 12192000"/>
              <a:gd name="connsiteY1010" fmla="*/ 435143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</a:cxnLst>
            <a:rect l="l" t="t" r="r" b="b"/>
            <a:pathLst>
              <a:path w="12192000" h="6858000">
                <a:moveTo>
                  <a:pt x="9655124" y="5071668"/>
                </a:moveTo>
                <a:cubicBezTo>
                  <a:pt x="9631245" y="5071668"/>
                  <a:pt x="9611886" y="5091026"/>
                  <a:pt x="9611886" y="5114906"/>
                </a:cubicBezTo>
                <a:cubicBezTo>
                  <a:pt x="9611886" y="5138786"/>
                  <a:pt x="9631245" y="5158145"/>
                  <a:pt x="9655124" y="5158145"/>
                </a:cubicBezTo>
                <a:cubicBezTo>
                  <a:pt x="9679004" y="5158145"/>
                  <a:pt x="9698363" y="5138786"/>
                  <a:pt x="9698363" y="5114906"/>
                </a:cubicBezTo>
                <a:cubicBezTo>
                  <a:pt x="9698363" y="5091026"/>
                  <a:pt x="9679004" y="5071668"/>
                  <a:pt x="9655124" y="5071668"/>
                </a:cubicBezTo>
                <a:close/>
                <a:moveTo>
                  <a:pt x="9486976" y="4998003"/>
                </a:moveTo>
                <a:cubicBezTo>
                  <a:pt x="9481371" y="4992398"/>
                  <a:pt x="9469360" y="5016419"/>
                  <a:pt x="9468559" y="5029231"/>
                </a:cubicBezTo>
                <a:cubicBezTo>
                  <a:pt x="9466958" y="5042042"/>
                  <a:pt x="9442937" y="5042042"/>
                  <a:pt x="9434129" y="5042843"/>
                </a:cubicBezTo>
                <a:cubicBezTo>
                  <a:pt x="9425321" y="5043643"/>
                  <a:pt x="9400499" y="5085280"/>
                  <a:pt x="9377278" y="5110903"/>
                </a:cubicBezTo>
                <a:cubicBezTo>
                  <a:pt x="9354058" y="5136526"/>
                  <a:pt x="9290001" y="5153341"/>
                  <a:pt x="9290001" y="5153341"/>
                </a:cubicBezTo>
                <a:cubicBezTo>
                  <a:pt x="9281193" y="5163750"/>
                  <a:pt x="9270784" y="5188572"/>
                  <a:pt x="9261976" y="5199782"/>
                </a:cubicBezTo>
                <a:cubicBezTo>
                  <a:pt x="9253168" y="5210992"/>
                  <a:pt x="9264378" y="5219799"/>
                  <a:pt x="9267581" y="5232611"/>
                </a:cubicBezTo>
                <a:cubicBezTo>
                  <a:pt x="9270784" y="5244621"/>
                  <a:pt x="9272385" y="5295066"/>
                  <a:pt x="9269182" y="5307077"/>
                </a:cubicBezTo>
                <a:cubicBezTo>
                  <a:pt x="9265980" y="5319087"/>
                  <a:pt x="9255571" y="5349514"/>
                  <a:pt x="9255571" y="5349514"/>
                </a:cubicBezTo>
                <a:cubicBezTo>
                  <a:pt x="9255571" y="5349514"/>
                  <a:pt x="9243560" y="5339906"/>
                  <a:pt x="9237955" y="5359123"/>
                </a:cubicBezTo>
                <a:cubicBezTo>
                  <a:pt x="9232350" y="5378340"/>
                  <a:pt x="9220339" y="5388749"/>
                  <a:pt x="9213133" y="5397557"/>
                </a:cubicBezTo>
                <a:cubicBezTo>
                  <a:pt x="9205926" y="5406365"/>
                  <a:pt x="9219539" y="5435991"/>
                  <a:pt x="9224343" y="5452806"/>
                </a:cubicBezTo>
                <a:cubicBezTo>
                  <a:pt x="9229948" y="5470422"/>
                  <a:pt x="9221941" y="5478429"/>
                  <a:pt x="9220339" y="5496044"/>
                </a:cubicBezTo>
                <a:cubicBezTo>
                  <a:pt x="9218738" y="5513660"/>
                  <a:pt x="9241158" y="5535279"/>
                  <a:pt x="9255571" y="5541685"/>
                </a:cubicBezTo>
                <a:cubicBezTo>
                  <a:pt x="9269182" y="5548090"/>
                  <a:pt x="9284396" y="5542486"/>
                  <a:pt x="9298809" y="5534478"/>
                </a:cubicBezTo>
                <a:cubicBezTo>
                  <a:pt x="9314022" y="5527272"/>
                  <a:pt x="9309218" y="5532877"/>
                  <a:pt x="9322830" y="5534478"/>
                </a:cubicBezTo>
                <a:cubicBezTo>
                  <a:pt x="9336442" y="5536080"/>
                  <a:pt x="9345250" y="5516062"/>
                  <a:pt x="9345250" y="5516062"/>
                </a:cubicBezTo>
                <a:cubicBezTo>
                  <a:pt x="9345250" y="5516062"/>
                  <a:pt x="9354859" y="5494443"/>
                  <a:pt x="9354859" y="5481632"/>
                </a:cubicBezTo>
                <a:cubicBezTo>
                  <a:pt x="9354859" y="5468820"/>
                  <a:pt x="9370873" y="5462415"/>
                  <a:pt x="9370873" y="5462415"/>
                </a:cubicBezTo>
                <a:lnTo>
                  <a:pt x="9435730" y="5324692"/>
                </a:lnTo>
                <a:cubicBezTo>
                  <a:pt x="9435730" y="5324692"/>
                  <a:pt x="9431727" y="5309479"/>
                  <a:pt x="9442937" y="5293465"/>
                </a:cubicBezTo>
                <a:cubicBezTo>
                  <a:pt x="9454147" y="5277451"/>
                  <a:pt x="9458951" y="5268643"/>
                  <a:pt x="9462154" y="5255031"/>
                </a:cubicBezTo>
                <a:cubicBezTo>
                  <a:pt x="9465356" y="5241419"/>
                  <a:pt x="9472563" y="5223002"/>
                  <a:pt x="9471762" y="5211792"/>
                </a:cubicBezTo>
                <a:cubicBezTo>
                  <a:pt x="9471762" y="5200582"/>
                  <a:pt x="9487776" y="5194177"/>
                  <a:pt x="9494983" y="5184568"/>
                </a:cubicBezTo>
                <a:cubicBezTo>
                  <a:pt x="9502189" y="5174960"/>
                  <a:pt x="9494983" y="5171757"/>
                  <a:pt x="9494182" y="5138928"/>
                </a:cubicBezTo>
                <a:cubicBezTo>
                  <a:pt x="9493381" y="5106899"/>
                  <a:pt x="9514200" y="5135725"/>
                  <a:pt x="9516602" y="5131721"/>
                </a:cubicBezTo>
                <a:cubicBezTo>
                  <a:pt x="9518203" y="5127718"/>
                  <a:pt x="9508595" y="5042843"/>
                  <a:pt x="9506193" y="5026028"/>
                </a:cubicBezTo>
                <a:cubicBezTo>
                  <a:pt x="9504591" y="5009213"/>
                  <a:pt x="9493381" y="5004408"/>
                  <a:pt x="9486976" y="4998003"/>
                </a:cubicBezTo>
                <a:close/>
                <a:moveTo>
                  <a:pt x="9177902" y="4942753"/>
                </a:moveTo>
                <a:cubicBezTo>
                  <a:pt x="9170696" y="4949959"/>
                  <a:pt x="9163489" y="4956365"/>
                  <a:pt x="9155482" y="4963571"/>
                </a:cubicBezTo>
                <a:cubicBezTo>
                  <a:pt x="9057796" y="5058055"/>
                  <a:pt x="8968917" y="5160546"/>
                  <a:pt x="8892049" y="5271044"/>
                </a:cubicBezTo>
                <a:cubicBezTo>
                  <a:pt x="8882440" y="5284656"/>
                  <a:pt x="8872031" y="5298268"/>
                  <a:pt x="8863223" y="5312681"/>
                </a:cubicBezTo>
                <a:lnTo>
                  <a:pt x="8835999" y="5355118"/>
                </a:lnTo>
                <a:cubicBezTo>
                  <a:pt x="8827191" y="5369531"/>
                  <a:pt x="8818383" y="5383944"/>
                  <a:pt x="8809575" y="5398357"/>
                </a:cubicBezTo>
                <a:cubicBezTo>
                  <a:pt x="8805572" y="5405563"/>
                  <a:pt x="8800768" y="5412770"/>
                  <a:pt x="8796764" y="5419976"/>
                </a:cubicBezTo>
                <a:lnTo>
                  <a:pt x="8784753" y="5442396"/>
                </a:lnTo>
                <a:cubicBezTo>
                  <a:pt x="8776746" y="5457609"/>
                  <a:pt x="8767939" y="5472022"/>
                  <a:pt x="8759932" y="5486435"/>
                </a:cubicBezTo>
                <a:lnTo>
                  <a:pt x="8736711" y="5531275"/>
                </a:lnTo>
                <a:cubicBezTo>
                  <a:pt x="8728704" y="5546488"/>
                  <a:pt x="8722298" y="5561702"/>
                  <a:pt x="8714291" y="5576915"/>
                </a:cubicBezTo>
                <a:lnTo>
                  <a:pt x="8703081" y="5600136"/>
                </a:lnTo>
                <a:cubicBezTo>
                  <a:pt x="8699078" y="5608143"/>
                  <a:pt x="8695875" y="5615349"/>
                  <a:pt x="8692672" y="5623356"/>
                </a:cubicBezTo>
                <a:cubicBezTo>
                  <a:pt x="8655839" y="5706630"/>
                  <a:pt x="8623811" y="5792306"/>
                  <a:pt x="8595786" y="5879583"/>
                </a:cubicBezTo>
                <a:cubicBezTo>
                  <a:pt x="8952102" y="5796310"/>
                  <a:pt x="8815981" y="5578517"/>
                  <a:pt x="9001746" y="5471221"/>
                </a:cubicBezTo>
                <a:cubicBezTo>
                  <a:pt x="9020162" y="5320688"/>
                  <a:pt x="8926479" y="5259834"/>
                  <a:pt x="9129059" y="5175759"/>
                </a:cubicBezTo>
                <a:cubicBezTo>
                  <a:pt x="9205126" y="5118909"/>
                  <a:pt x="9200322" y="5030030"/>
                  <a:pt x="9177902" y="4942753"/>
                </a:cubicBezTo>
                <a:close/>
                <a:moveTo>
                  <a:pt x="8950500" y="4845067"/>
                </a:moveTo>
                <a:lnTo>
                  <a:pt x="8932884" y="4864284"/>
                </a:lnTo>
                <a:lnTo>
                  <a:pt x="8921674" y="4875494"/>
                </a:lnTo>
                <a:lnTo>
                  <a:pt x="8910464" y="4886704"/>
                </a:lnTo>
                <a:lnTo>
                  <a:pt x="8888845" y="4909124"/>
                </a:lnTo>
                <a:lnTo>
                  <a:pt x="8867226" y="4931544"/>
                </a:lnTo>
                <a:lnTo>
                  <a:pt x="8845607" y="4953963"/>
                </a:lnTo>
                <a:lnTo>
                  <a:pt x="8823988" y="4976383"/>
                </a:lnTo>
                <a:lnTo>
                  <a:pt x="8813578" y="4987593"/>
                </a:lnTo>
                <a:lnTo>
                  <a:pt x="8803169" y="4999604"/>
                </a:lnTo>
                <a:lnTo>
                  <a:pt x="8761532" y="5046045"/>
                </a:lnTo>
                <a:lnTo>
                  <a:pt x="8721497" y="5094088"/>
                </a:lnTo>
                <a:cubicBezTo>
                  <a:pt x="8707885" y="5110102"/>
                  <a:pt x="8695874" y="5126116"/>
                  <a:pt x="8683063" y="5142931"/>
                </a:cubicBezTo>
                <a:lnTo>
                  <a:pt x="8663846" y="5167753"/>
                </a:lnTo>
                <a:cubicBezTo>
                  <a:pt x="8657440" y="5175760"/>
                  <a:pt x="8651835" y="5184568"/>
                  <a:pt x="8645429" y="5192575"/>
                </a:cubicBezTo>
                <a:cubicBezTo>
                  <a:pt x="8595785" y="5259034"/>
                  <a:pt x="8550945" y="5329496"/>
                  <a:pt x="8509309" y="5400760"/>
                </a:cubicBezTo>
                <a:lnTo>
                  <a:pt x="8478882" y="5455208"/>
                </a:lnTo>
                <a:lnTo>
                  <a:pt x="8450857" y="5511257"/>
                </a:lnTo>
                <a:cubicBezTo>
                  <a:pt x="8441248" y="5529674"/>
                  <a:pt x="8433241" y="5548891"/>
                  <a:pt x="8424433" y="5568108"/>
                </a:cubicBezTo>
                <a:lnTo>
                  <a:pt x="8411622" y="5596933"/>
                </a:lnTo>
                <a:lnTo>
                  <a:pt x="8405216" y="5611346"/>
                </a:lnTo>
                <a:lnTo>
                  <a:pt x="8399611" y="5625759"/>
                </a:lnTo>
                <a:cubicBezTo>
                  <a:pt x="8387601" y="5653784"/>
                  <a:pt x="8377191" y="5681809"/>
                  <a:pt x="8367583" y="5710634"/>
                </a:cubicBezTo>
                <a:cubicBezTo>
                  <a:pt x="8373989" y="5722645"/>
                  <a:pt x="8380394" y="5733855"/>
                  <a:pt x="8387601" y="5745065"/>
                </a:cubicBezTo>
                <a:cubicBezTo>
                  <a:pt x="8417227" y="5803517"/>
                  <a:pt x="8403615" y="5891595"/>
                  <a:pt x="8482885" y="5901203"/>
                </a:cubicBezTo>
                <a:cubicBezTo>
                  <a:pt x="8514113" y="5897200"/>
                  <a:pt x="8542938" y="5892395"/>
                  <a:pt x="8568561" y="5887591"/>
                </a:cubicBezTo>
                <a:cubicBezTo>
                  <a:pt x="8583775" y="5791506"/>
                  <a:pt x="8607796" y="5697022"/>
                  <a:pt x="8639824" y="5604941"/>
                </a:cubicBezTo>
                <a:cubicBezTo>
                  <a:pt x="8663846" y="5539282"/>
                  <a:pt x="8691070" y="5474425"/>
                  <a:pt x="8723899" y="5411969"/>
                </a:cubicBezTo>
                <a:lnTo>
                  <a:pt x="8735910" y="5388749"/>
                </a:lnTo>
                <a:cubicBezTo>
                  <a:pt x="8739913" y="5380742"/>
                  <a:pt x="8744717" y="5373536"/>
                  <a:pt x="8748721" y="5365528"/>
                </a:cubicBezTo>
                <a:cubicBezTo>
                  <a:pt x="8757529" y="5350315"/>
                  <a:pt x="8766337" y="5335101"/>
                  <a:pt x="8775144" y="5319888"/>
                </a:cubicBezTo>
                <a:cubicBezTo>
                  <a:pt x="8794361" y="5290262"/>
                  <a:pt x="8812778" y="5260635"/>
                  <a:pt x="8832795" y="5231810"/>
                </a:cubicBezTo>
                <a:cubicBezTo>
                  <a:pt x="8912866" y="5116508"/>
                  <a:pt x="9009752" y="5012415"/>
                  <a:pt x="9117047" y="4923536"/>
                </a:cubicBezTo>
                <a:cubicBezTo>
                  <a:pt x="9131460" y="4912327"/>
                  <a:pt x="9145072" y="4900316"/>
                  <a:pt x="9159485" y="4889106"/>
                </a:cubicBezTo>
                <a:cubicBezTo>
                  <a:pt x="9154681" y="4873892"/>
                  <a:pt x="9149876" y="4859480"/>
                  <a:pt x="9145072" y="4845067"/>
                </a:cubicBezTo>
                <a:close/>
                <a:moveTo>
                  <a:pt x="8306729" y="4646491"/>
                </a:moveTo>
                <a:lnTo>
                  <a:pt x="8284309" y="4675316"/>
                </a:lnTo>
                <a:cubicBezTo>
                  <a:pt x="8280306" y="4680121"/>
                  <a:pt x="8277103" y="4684925"/>
                  <a:pt x="8273100" y="4689729"/>
                </a:cubicBezTo>
                <a:lnTo>
                  <a:pt x="8262690" y="4704142"/>
                </a:lnTo>
                <a:cubicBezTo>
                  <a:pt x="8243473" y="4729765"/>
                  <a:pt x="8225858" y="4756188"/>
                  <a:pt x="8209043" y="4782612"/>
                </a:cubicBezTo>
                <a:cubicBezTo>
                  <a:pt x="8249078" y="4913928"/>
                  <a:pt x="8235466" y="5018020"/>
                  <a:pt x="8194630" y="5239016"/>
                </a:cubicBezTo>
                <a:cubicBezTo>
                  <a:pt x="8208242" y="5263037"/>
                  <a:pt x="8220253" y="5287860"/>
                  <a:pt x="8231463" y="5312682"/>
                </a:cubicBezTo>
                <a:cubicBezTo>
                  <a:pt x="8254683" y="5231810"/>
                  <a:pt x="8284309" y="5153340"/>
                  <a:pt x="8319541" y="5076472"/>
                </a:cubicBezTo>
                <a:cubicBezTo>
                  <a:pt x="8356373" y="4996401"/>
                  <a:pt x="8400412" y="4918732"/>
                  <a:pt x="8450057" y="4845067"/>
                </a:cubicBezTo>
                <a:lnTo>
                  <a:pt x="8363580" y="4845067"/>
                </a:lnTo>
                <a:close/>
                <a:moveTo>
                  <a:pt x="8800768" y="4626473"/>
                </a:moveTo>
                <a:lnTo>
                  <a:pt x="8751124" y="4845867"/>
                </a:lnTo>
                <a:lnTo>
                  <a:pt x="8530929" y="4845867"/>
                </a:lnTo>
                <a:cubicBezTo>
                  <a:pt x="8469274" y="4925938"/>
                  <a:pt x="8414826" y="5011614"/>
                  <a:pt x="8367584" y="5101294"/>
                </a:cubicBezTo>
                <a:cubicBezTo>
                  <a:pt x="8322744" y="5186970"/>
                  <a:pt x="8284310" y="5275849"/>
                  <a:pt x="8251481" y="5367129"/>
                </a:cubicBezTo>
                <a:cubicBezTo>
                  <a:pt x="8288314" y="5470421"/>
                  <a:pt x="8305929" y="5576916"/>
                  <a:pt x="8350769" y="5676204"/>
                </a:cubicBezTo>
                <a:lnTo>
                  <a:pt x="8368385" y="5613748"/>
                </a:lnTo>
                <a:lnTo>
                  <a:pt x="8372388" y="5598535"/>
                </a:lnTo>
                <a:lnTo>
                  <a:pt x="8377192" y="5583321"/>
                </a:lnTo>
                <a:lnTo>
                  <a:pt x="8387602" y="5552894"/>
                </a:lnTo>
                <a:cubicBezTo>
                  <a:pt x="8394808" y="5532877"/>
                  <a:pt x="8401214" y="5512058"/>
                  <a:pt x="8409221" y="5492841"/>
                </a:cubicBezTo>
                <a:lnTo>
                  <a:pt x="8433242" y="5433589"/>
                </a:lnTo>
                <a:cubicBezTo>
                  <a:pt x="8442050" y="5414372"/>
                  <a:pt x="8451658" y="5395154"/>
                  <a:pt x="8460466" y="5375937"/>
                </a:cubicBezTo>
                <a:lnTo>
                  <a:pt x="8467673" y="5361525"/>
                </a:lnTo>
                <a:cubicBezTo>
                  <a:pt x="8470075" y="5356720"/>
                  <a:pt x="8472477" y="5351916"/>
                  <a:pt x="8474879" y="5347112"/>
                </a:cubicBezTo>
                <a:lnTo>
                  <a:pt x="8490093" y="5319087"/>
                </a:lnTo>
                <a:lnTo>
                  <a:pt x="8505306" y="5291062"/>
                </a:lnTo>
                <a:cubicBezTo>
                  <a:pt x="8507708" y="5286258"/>
                  <a:pt x="8510110" y="5281454"/>
                  <a:pt x="8513313" y="5276649"/>
                </a:cubicBezTo>
                <a:lnTo>
                  <a:pt x="8521320" y="5263037"/>
                </a:lnTo>
                <a:lnTo>
                  <a:pt x="8554950" y="5208589"/>
                </a:lnTo>
                <a:cubicBezTo>
                  <a:pt x="8566961" y="5190973"/>
                  <a:pt x="8578971" y="5173358"/>
                  <a:pt x="8590982" y="5154941"/>
                </a:cubicBezTo>
                <a:cubicBezTo>
                  <a:pt x="8639825" y="5084479"/>
                  <a:pt x="8692672" y="5017219"/>
                  <a:pt x="8750323" y="4953963"/>
                </a:cubicBezTo>
                <a:lnTo>
                  <a:pt x="8760732" y="4941953"/>
                </a:lnTo>
                <a:lnTo>
                  <a:pt x="8771942" y="4929942"/>
                </a:lnTo>
                <a:lnTo>
                  <a:pt x="8794362" y="4906721"/>
                </a:lnTo>
                <a:lnTo>
                  <a:pt x="8816782" y="4883501"/>
                </a:lnTo>
                <a:lnTo>
                  <a:pt x="8839202" y="4861081"/>
                </a:lnTo>
                <a:cubicBezTo>
                  <a:pt x="8844006" y="4856277"/>
                  <a:pt x="8849611" y="4850672"/>
                  <a:pt x="8854416" y="4845867"/>
                </a:cubicBezTo>
                <a:lnTo>
                  <a:pt x="8850412" y="4845867"/>
                </a:lnTo>
                <a:close/>
                <a:moveTo>
                  <a:pt x="9876921" y="3917044"/>
                </a:moveTo>
                <a:lnTo>
                  <a:pt x="9876921" y="4769800"/>
                </a:lnTo>
                <a:lnTo>
                  <a:pt x="10134750" y="4769800"/>
                </a:lnTo>
                <a:lnTo>
                  <a:pt x="10134750" y="4337417"/>
                </a:lnTo>
                <a:lnTo>
                  <a:pt x="10449429" y="4769800"/>
                </a:lnTo>
                <a:lnTo>
                  <a:pt x="10697649" y="4769800"/>
                </a:lnTo>
                <a:lnTo>
                  <a:pt x="10697649" y="3917044"/>
                </a:lnTo>
                <a:lnTo>
                  <a:pt x="10439019" y="3917044"/>
                </a:lnTo>
                <a:lnTo>
                  <a:pt x="10439019" y="4320602"/>
                </a:lnTo>
                <a:lnTo>
                  <a:pt x="10142757" y="3917044"/>
                </a:lnTo>
                <a:close/>
                <a:moveTo>
                  <a:pt x="9480570" y="3917044"/>
                </a:moveTo>
                <a:lnTo>
                  <a:pt x="9480570" y="4769800"/>
                </a:lnTo>
                <a:lnTo>
                  <a:pt x="9739199" y="4769800"/>
                </a:lnTo>
                <a:lnTo>
                  <a:pt x="9739199" y="3917044"/>
                </a:lnTo>
                <a:close/>
                <a:moveTo>
                  <a:pt x="8176214" y="3917044"/>
                </a:moveTo>
                <a:lnTo>
                  <a:pt x="8420430" y="4769800"/>
                </a:lnTo>
                <a:lnTo>
                  <a:pt x="8691871" y="4769800"/>
                </a:lnTo>
                <a:lnTo>
                  <a:pt x="8801568" y="4286171"/>
                </a:lnTo>
                <a:lnTo>
                  <a:pt x="8911266" y="4769800"/>
                </a:lnTo>
                <a:lnTo>
                  <a:pt x="9182706" y="4769800"/>
                </a:lnTo>
                <a:lnTo>
                  <a:pt x="9426923" y="3917044"/>
                </a:lnTo>
                <a:lnTo>
                  <a:pt x="9136265" y="3917044"/>
                </a:lnTo>
                <a:lnTo>
                  <a:pt x="9027368" y="4438306"/>
                </a:lnTo>
                <a:lnTo>
                  <a:pt x="8898454" y="3917044"/>
                </a:lnTo>
                <a:lnTo>
                  <a:pt x="8704682" y="3917044"/>
                </a:lnTo>
                <a:lnTo>
                  <a:pt x="8574967" y="4438306"/>
                </a:lnTo>
                <a:lnTo>
                  <a:pt x="8465270" y="3917044"/>
                </a:lnTo>
                <a:close/>
                <a:moveTo>
                  <a:pt x="11152452" y="3905033"/>
                </a:moveTo>
                <a:cubicBezTo>
                  <a:pt x="11041954" y="3905033"/>
                  <a:pt x="10954676" y="3933058"/>
                  <a:pt x="10892221" y="3988307"/>
                </a:cubicBezTo>
                <a:cubicBezTo>
                  <a:pt x="10829765" y="4043556"/>
                  <a:pt x="10798538" y="4110015"/>
                  <a:pt x="10798538" y="4187684"/>
                </a:cubicBezTo>
                <a:cubicBezTo>
                  <a:pt x="10798538" y="4250139"/>
                  <a:pt x="10814552" y="4301384"/>
                  <a:pt x="10847381" y="4342221"/>
                </a:cubicBezTo>
                <a:cubicBezTo>
                  <a:pt x="10880210" y="4383057"/>
                  <a:pt x="10919445" y="4411882"/>
                  <a:pt x="10966687" y="4427897"/>
                </a:cubicBezTo>
                <a:cubicBezTo>
                  <a:pt x="11013128" y="4443911"/>
                  <a:pt x="11059569" y="4456722"/>
                  <a:pt x="11106010" y="4464729"/>
                </a:cubicBezTo>
                <a:cubicBezTo>
                  <a:pt x="11152452" y="4473537"/>
                  <a:pt x="11192487" y="4481544"/>
                  <a:pt x="11225316" y="4488751"/>
                </a:cubicBezTo>
                <a:cubicBezTo>
                  <a:pt x="11258145" y="4496758"/>
                  <a:pt x="11274159" y="4507167"/>
                  <a:pt x="11274159" y="4522380"/>
                </a:cubicBezTo>
                <a:cubicBezTo>
                  <a:pt x="11274159" y="4552807"/>
                  <a:pt x="11242932" y="4568021"/>
                  <a:pt x="11179676" y="4568021"/>
                </a:cubicBezTo>
                <a:cubicBezTo>
                  <a:pt x="11073181" y="4568021"/>
                  <a:pt x="10981900" y="4531188"/>
                  <a:pt x="10905032" y="4458324"/>
                </a:cubicBezTo>
                <a:lnTo>
                  <a:pt x="10770513" y="4650494"/>
                </a:lnTo>
                <a:cubicBezTo>
                  <a:pt x="10871402" y="4740974"/>
                  <a:pt x="11003520" y="4785814"/>
                  <a:pt x="11166864" y="4785814"/>
                </a:cubicBezTo>
                <a:cubicBezTo>
                  <a:pt x="11282167" y="4785013"/>
                  <a:pt x="11371846" y="4759390"/>
                  <a:pt x="11437504" y="4707344"/>
                </a:cubicBezTo>
                <a:cubicBezTo>
                  <a:pt x="11502362" y="4655298"/>
                  <a:pt x="11535191" y="4582434"/>
                  <a:pt x="11535191" y="4488751"/>
                </a:cubicBezTo>
                <a:cubicBezTo>
                  <a:pt x="11535191" y="4439106"/>
                  <a:pt x="11523180" y="4396669"/>
                  <a:pt x="11499960" y="4360637"/>
                </a:cubicBezTo>
                <a:cubicBezTo>
                  <a:pt x="11476739" y="4324605"/>
                  <a:pt x="11447113" y="4298182"/>
                  <a:pt x="11412682" y="4280566"/>
                </a:cubicBezTo>
                <a:cubicBezTo>
                  <a:pt x="11377451" y="4263751"/>
                  <a:pt x="11339818" y="4248538"/>
                  <a:pt x="11298181" y="4236527"/>
                </a:cubicBezTo>
                <a:cubicBezTo>
                  <a:pt x="11256544" y="4224516"/>
                  <a:pt x="11218910" y="4215708"/>
                  <a:pt x="11183679" y="4210904"/>
                </a:cubicBezTo>
                <a:cubicBezTo>
                  <a:pt x="11148448" y="4206100"/>
                  <a:pt x="11119623" y="4199694"/>
                  <a:pt x="11096402" y="4190886"/>
                </a:cubicBezTo>
                <a:cubicBezTo>
                  <a:pt x="11073181" y="4182079"/>
                  <a:pt x="11061171" y="4172470"/>
                  <a:pt x="11061171" y="4160460"/>
                </a:cubicBezTo>
                <a:cubicBezTo>
                  <a:pt x="11061171" y="4134837"/>
                  <a:pt x="11082790" y="4122025"/>
                  <a:pt x="11126028" y="4122025"/>
                </a:cubicBezTo>
                <a:cubicBezTo>
                  <a:pt x="11218910" y="4122025"/>
                  <a:pt x="11302184" y="4150050"/>
                  <a:pt x="11376650" y="4206100"/>
                </a:cubicBezTo>
                <a:lnTo>
                  <a:pt x="11514372" y="4023538"/>
                </a:lnTo>
                <a:cubicBezTo>
                  <a:pt x="11417487" y="3944268"/>
                  <a:pt x="11296579" y="3905033"/>
                  <a:pt x="11152452" y="3905033"/>
                </a:cubicBezTo>
                <a:close/>
                <a:moveTo>
                  <a:pt x="7221768" y="3876208"/>
                </a:moveTo>
                <a:cubicBezTo>
                  <a:pt x="7219366" y="3888219"/>
                  <a:pt x="7213761" y="3900229"/>
                  <a:pt x="7204953" y="3911439"/>
                </a:cubicBezTo>
                <a:cubicBezTo>
                  <a:pt x="7187338" y="4068378"/>
                  <a:pt x="7352284" y="4250940"/>
                  <a:pt x="7483600" y="4337417"/>
                </a:cubicBezTo>
                <a:cubicBezTo>
                  <a:pt x="7538048" y="4394267"/>
                  <a:pt x="7603707" y="4293378"/>
                  <a:pt x="7670966" y="4334214"/>
                </a:cubicBezTo>
                <a:cubicBezTo>
                  <a:pt x="7744632" y="4352630"/>
                  <a:pt x="7860735" y="4237328"/>
                  <a:pt x="7936001" y="4286171"/>
                </a:cubicBezTo>
                <a:cubicBezTo>
                  <a:pt x="8031286" y="4426296"/>
                  <a:pt x="8159399" y="4268556"/>
                  <a:pt x="8100147" y="4537594"/>
                </a:cubicBezTo>
                <a:cubicBezTo>
                  <a:pt x="8133777" y="4604854"/>
                  <a:pt x="8160200" y="4659302"/>
                  <a:pt x="8180218" y="4707345"/>
                </a:cubicBezTo>
                <a:cubicBezTo>
                  <a:pt x="8189026" y="4693733"/>
                  <a:pt x="8198634" y="4679320"/>
                  <a:pt x="8208243" y="4665708"/>
                </a:cubicBezTo>
                <a:lnTo>
                  <a:pt x="8219453" y="4649694"/>
                </a:lnTo>
                <a:cubicBezTo>
                  <a:pt x="8223456" y="4644089"/>
                  <a:pt x="8227460" y="4639284"/>
                  <a:pt x="8230662" y="4634480"/>
                </a:cubicBezTo>
                <a:lnTo>
                  <a:pt x="8253883" y="4604053"/>
                </a:lnTo>
                <a:cubicBezTo>
                  <a:pt x="8264292" y="4592043"/>
                  <a:pt x="8273901" y="4579231"/>
                  <a:pt x="8284310" y="4567221"/>
                </a:cubicBezTo>
                <a:lnTo>
                  <a:pt x="8168207" y="4160460"/>
                </a:lnTo>
                <a:cubicBezTo>
                  <a:pt x="8158599" y="4162061"/>
                  <a:pt x="8148990" y="4162862"/>
                  <a:pt x="8138581" y="4163663"/>
                </a:cubicBezTo>
                <a:lnTo>
                  <a:pt x="8099346" y="4167666"/>
                </a:lnTo>
                <a:lnTo>
                  <a:pt x="8060111" y="4170069"/>
                </a:lnTo>
                <a:lnTo>
                  <a:pt x="8040094" y="4170869"/>
                </a:lnTo>
                <a:cubicBezTo>
                  <a:pt x="8033688" y="4170869"/>
                  <a:pt x="8027282" y="4170869"/>
                  <a:pt x="8020076" y="4170869"/>
                </a:cubicBezTo>
                <a:lnTo>
                  <a:pt x="7980841" y="4170869"/>
                </a:lnTo>
                <a:cubicBezTo>
                  <a:pt x="7927994" y="4169268"/>
                  <a:pt x="7875948" y="4166065"/>
                  <a:pt x="7823902" y="4157257"/>
                </a:cubicBezTo>
                <a:lnTo>
                  <a:pt x="7804685" y="4154054"/>
                </a:lnTo>
                <a:cubicBezTo>
                  <a:pt x="7798279" y="4153254"/>
                  <a:pt x="7791874" y="4151652"/>
                  <a:pt x="7785468" y="4150051"/>
                </a:cubicBezTo>
                <a:cubicBezTo>
                  <a:pt x="7772656" y="4147649"/>
                  <a:pt x="7759845" y="4145246"/>
                  <a:pt x="7747034" y="4142044"/>
                </a:cubicBezTo>
                <a:cubicBezTo>
                  <a:pt x="7721411" y="4135638"/>
                  <a:pt x="7695788" y="4130033"/>
                  <a:pt x="7670966" y="4122026"/>
                </a:cubicBezTo>
                <a:cubicBezTo>
                  <a:pt x="7620522" y="4107613"/>
                  <a:pt x="7571678" y="4089197"/>
                  <a:pt x="7523636" y="4067578"/>
                </a:cubicBezTo>
                <a:cubicBezTo>
                  <a:pt x="7476394" y="4046759"/>
                  <a:pt x="7429953" y="4021937"/>
                  <a:pt x="7385113" y="3995514"/>
                </a:cubicBezTo>
                <a:cubicBezTo>
                  <a:pt x="7341074" y="3968290"/>
                  <a:pt x="7297836" y="3939464"/>
                  <a:pt x="7257800" y="3906635"/>
                </a:cubicBezTo>
                <a:cubicBezTo>
                  <a:pt x="7245789" y="3897026"/>
                  <a:pt x="7233779" y="3886617"/>
                  <a:pt x="7221768" y="3876208"/>
                </a:cubicBezTo>
                <a:close/>
                <a:moveTo>
                  <a:pt x="9182706" y="3736084"/>
                </a:moveTo>
                <a:cubicBezTo>
                  <a:pt x="9180304" y="3746493"/>
                  <a:pt x="9180304" y="3764109"/>
                  <a:pt x="9188311" y="3768913"/>
                </a:cubicBezTo>
                <a:cubicBezTo>
                  <a:pt x="9194717" y="3772116"/>
                  <a:pt x="9215535" y="3775319"/>
                  <a:pt x="9234752" y="3775319"/>
                </a:cubicBezTo>
                <a:cubicBezTo>
                  <a:pt x="9237155" y="3775319"/>
                  <a:pt x="9239557" y="3775319"/>
                  <a:pt x="9241959" y="3775319"/>
                </a:cubicBezTo>
                <a:cubicBezTo>
                  <a:pt x="9237955" y="3772917"/>
                  <a:pt x="9233952" y="3769714"/>
                  <a:pt x="9229948" y="3767312"/>
                </a:cubicBezTo>
                <a:cubicBezTo>
                  <a:pt x="9214735" y="3756902"/>
                  <a:pt x="9198721" y="3746493"/>
                  <a:pt x="9182706" y="3736084"/>
                </a:cubicBezTo>
                <a:close/>
                <a:moveTo>
                  <a:pt x="9190713" y="3701653"/>
                </a:moveTo>
                <a:cubicBezTo>
                  <a:pt x="9189912" y="3715265"/>
                  <a:pt x="9186710" y="3724073"/>
                  <a:pt x="9185108" y="3728877"/>
                </a:cubicBezTo>
                <a:cubicBezTo>
                  <a:pt x="9206727" y="3745692"/>
                  <a:pt x="9228346" y="3761706"/>
                  <a:pt x="9248364" y="3775318"/>
                </a:cubicBezTo>
                <a:cubicBezTo>
                  <a:pt x="9262777" y="3774518"/>
                  <a:pt x="9276389" y="3772115"/>
                  <a:pt x="9281193" y="3768913"/>
                </a:cubicBezTo>
                <a:cubicBezTo>
                  <a:pt x="9282795" y="3768112"/>
                  <a:pt x="9284396" y="3766510"/>
                  <a:pt x="9285197" y="3764108"/>
                </a:cubicBezTo>
                <a:cubicBezTo>
                  <a:pt x="9270784" y="3753699"/>
                  <a:pt x="9255571" y="3744091"/>
                  <a:pt x="9239556" y="3733681"/>
                </a:cubicBezTo>
                <a:cubicBezTo>
                  <a:pt x="9223542" y="3723272"/>
                  <a:pt x="9207528" y="3712062"/>
                  <a:pt x="9190713" y="3701653"/>
                </a:cubicBezTo>
                <a:close/>
                <a:moveTo>
                  <a:pt x="9188311" y="3659216"/>
                </a:moveTo>
                <a:cubicBezTo>
                  <a:pt x="9189912" y="3670426"/>
                  <a:pt x="9190713" y="3682437"/>
                  <a:pt x="9190713" y="3690444"/>
                </a:cubicBezTo>
                <a:cubicBezTo>
                  <a:pt x="9190713" y="3691244"/>
                  <a:pt x="9190713" y="3691244"/>
                  <a:pt x="9190713" y="3692045"/>
                </a:cubicBezTo>
                <a:cubicBezTo>
                  <a:pt x="9224343" y="3718469"/>
                  <a:pt x="9257172" y="3741689"/>
                  <a:pt x="9286798" y="3760105"/>
                </a:cubicBezTo>
                <a:cubicBezTo>
                  <a:pt x="9289200" y="3750497"/>
                  <a:pt x="9287599" y="3736885"/>
                  <a:pt x="9285197" y="3730479"/>
                </a:cubicBezTo>
                <a:cubicBezTo>
                  <a:pt x="9285197" y="3728077"/>
                  <a:pt x="9283596" y="3725675"/>
                  <a:pt x="9282795" y="3721671"/>
                </a:cubicBezTo>
                <a:cubicBezTo>
                  <a:pt x="9269183" y="3712063"/>
                  <a:pt x="9254770" y="3702454"/>
                  <a:pt x="9240357" y="3692846"/>
                </a:cubicBezTo>
                <a:cubicBezTo>
                  <a:pt x="9223542" y="3681636"/>
                  <a:pt x="9205927" y="3670426"/>
                  <a:pt x="9188311" y="3659216"/>
                </a:cubicBezTo>
                <a:close/>
                <a:moveTo>
                  <a:pt x="9181905" y="3611173"/>
                </a:moveTo>
                <a:cubicBezTo>
                  <a:pt x="9181905" y="3612774"/>
                  <a:pt x="9182706" y="3614376"/>
                  <a:pt x="9182706" y="3615977"/>
                </a:cubicBezTo>
                <a:cubicBezTo>
                  <a:pt x="9182706" y="3617579"/>
                  <a:pt x="9185108" y="3631991"/>
                  <a:pt x="9187510" y="3648006"/>
                </a:cubicBezTo>
                <a:cubicBezTo>
                  <a:pt x="9219538" y="3674429"/>
                  <a:pt x="9252367" y="3696849"/>
                  <a:pt x="9281994" y="3715265"/>
                </a:cubicBezTo>
                <a:cubicBezTo>
                  <a:pt x="9280392" y="3708860"/>
                  <a:pt x="9279592" y="3700852"/>
                  <a:pt x="9279592" y="3690443"/>
                </a:cubicBezTo>
                <a:cubicBezTo>
                  <a:pt x="9279592" y="3686440"/>
                  <a:pt x="9279592" y="3680835"/>
                  <a:pt x="9280392" y="3676030"/>
                </a:cubicBezTo>
                <a:cubicBezTo>
                  <a:pt x="9274787" y="3672828"/>
                  <a:pt x="9269983" y="3668824"/>
                  <a:pt x="9264378" y="3665621"/>
                </a:cubicBezTo>
                <a:cubicBezTo>
                  <a:pt x="9237154" y="3648006"/>
                  <a:pt x="9209129" y="3629589"/>
                  <a:pt x="9181905" y="3611173"/>
                </a:cubicBezTo>
                <a:close/>
                <a:moveTo>
                  <a:pt x="9182706" y="3575942"/>
                </a:moveTo>
                <a:cubicBezTo>
                  <a:pt x="9182706" y="3583148"/>
                  <a:pt x="9181905" y="3590355"/>
                  <a:pt x="9182706" y="3595159"/>
                </a:cubicBezTo>
                <a:cubicBezTo>
                  <a:pt x="9214734" y="3625586"/>
                  <a:pt x="9248364" y="3650408"/>
                  <a:pt x="9280392" y="3672027"/>
                </a:cubicBezTo>
                <a:cubicBezTo>
                  <a:pt x="9281193" y="3662419"/>
                  <a:pt x="9282795" y="3652810"/>
                  <a:pt x="9283595" y="3643202"/>
                </a:cubicBezTo>
                <a:cubicBezTo>
                  <a:pt x="9273987" y="3636796"/>
                  <a:pt x="9263578" y="3630390"/>
                  <a:pt x="9253969" y="3623184"/>
                </a:cubicBezTo>
                <a:cubicBezTo>
                  <a:pt x="9230748" y="3607970"/>
                  <a:pt x="9205926" y="3591956"/>
                  <a:pt x="9182706" y="3575942"/>
                </a:cubicBezTo>
                <a:close/>
                <a:moveTo>
                  <a:pt x="7265806" y="3544714"/>
                </a:moveTo>
                <a:cubicBezTo>
                  <a:pt x="7245789" y="3577543"/>
                  <a:pt x="7227372" y="3612774"/>
                  <a:pt x="7210557" y="3649607"/>
                </a:cubicBezTo>
                <a:cubicBezTo>
                  <a:pt x="7160113" y="3712863"/>
                  <a:pt x="7228173" y="3792133"/>
                  <a:pt x="7224170" y="3863397"/>
                </a:cubicBezTo>
                <a:cubicBezTo>
                  <a:pt x="7228173" y="3866599"/>
                  <a:pt x="7232977" y="3869802"/>
                  <a:pt x="7236981" y="3872204"/>
                </a:cubicBezTo>
                <a:cubicBezTo>
                  <a:pt x="7247390" y="3879411"/>
                  <a:pt x="7257799" y="3886617"/>
                  <a:pt x="7269009" y="3893023"/>
                </a:cubicBezTo>
                <a:cubicBezTo>
                  <a:pt x="7312248" y="3920247"/>
                  <a:pt x="7356287" y="3945069"/>
                  <a:pt x="7401927" y="3967489"/>
                </a:cubicBezTo>
                <a:cubicBezTo>
                  <a:pt x="7447568" y="3989909"/>
                  <a:pt x="7494009" y="4009926"/>
                  <a:pt x="7541251" y="4026741"/>
                </a:cubicBezTo>
                <a:cubicBezTo>
                  <a:pt x="7553261" y="4030745"/>
                  <a:pt x="7565272" y="4035549"/>
                  <a:pt x="7576482" y="4039553"/>
                </a:cubicBezTo>
                <a:lnTo>
                  <a:pt x="7612514" y="4050763"/>
                </a:lnTo>
                <a:cubicBezTo>
                  <a:pt x="7636535" y="4057969"/>
                  <a:pt x="7660556" y="4064375"/>
                  <a:pt x="7685378" y="4069980"/>
                </a:cubicBezTo>
                <a:cubicBezTo>
                  <a:pt x="7709400" y="4076385"/>
                  <a:pt x="7734222" y="4080389"/>
                  <a:pt x="7759044" y="4085994"/>
                </a:cubicBezTo>
                <a:lnTo>
                  <a:pt x="7795876" y="4091599"/>
                </a:lnTo>
                <a:cubicBezTo>
                  <a:pt x="7802282" y="4092400"/>
                  <a:pt x="7807887" y="4094001"/>
                  <a:pt x="7814293" y="4094802"/>
                </a:cubicBezTo>
                <a:lnTo>
                  <a:pt x="7832709" y="4097204"/>
                </a:lnTo>
                <a:cubicBezTo>
                  <a:pt x="7882353" y="4103609"/>
                  <a:pt x="7931997" y="4105211"/>
                  <a:pt x="7981641" y="4106012"/>
                </a:cubicBezTo>
                <a:lnTo>
                  <a:pt x="8019274" y="4105211"/>
                </a:lnTo>
                <a:cubicBezTo>
                  <a:pt x="8025680" y="4105211"/>
                  <a:pt x="8032086" y="4105211"/>
                  <a:pt x="8037691" y="4104410"/>
                </a:cubicBezTo>
                <a:lnTo>
                  <a:pt x="8056107" y="4102809"/>
                </a:lnTo>
                <a:lnTo>
                  <a:pt x="8092940" y="4100407"/>
                </a:lnTo>
                <a:lnTo>
                  <a:pt x="8129772" y="4095602"/>
                </a:lnTo>
                <a:cubicBezTo>
                  <a:pt x="8136178" y="4094802"/>
                  <a:pt x="8141783" y="4094001"/>
                  <a:pt x="8148189" y="4093200"/>
                </a:cubicBezTo>
                <a:lnTo>
                  <a:pt x="8083331" y="3866599"/>
                </a:lnTo>
                <a:cubicBezTo>
                  <a:pt x="8060111" y="3866599"/>
                  <a:pt x="8036089" y="3865799"/>
                  <a:pt x="8012869" y="3864998"/>
                </a:cubicBezTo>
                <a:lnTo>
                  <a:pt x="7994452" y="3864197"/>
                </a:lnTo>
                <a:cubicBezTo>
                  <a:pt x="7988047" y="3863397"/>
                  <a:pt x="7981641" y="3863397"/>
                  <a:pt x="7976036" y="3862596"/>
                </a:cubicBezTo>
                <a:lnTo>
                  <a:pt x="7938403" y="3858592"/>
                </a:lnTo>
                <a:cubicBezTo>
                  <a:pt x="7925591" y="3856991"/>
                  <a:pt x="7913581" y="3855389"/>
                  <a:pt x="7901570" y="3852987"/>
                </a:cubicBezTo>
                <a:lnTo>
                  <a:pt x="7883154" y="3849784"/>
                </a:lnTo>
                <a:cubicBezTo>
                  <a:pt x="7876748" y="3848984"/>
                  <a:pt x="7871143" y="3847382"/>
                  <a:pt x="7864737" y="3846582"/>
                </a:cubicBezTo>
                <a:lnTo>
                  <a:pt x="7827905" y="3839375"/>
                </a:lnTo>
                <a:cubicBezTo>
                  <a:pt x="7815894" y="3836973"/>
                  <a:pt x="7803883" y="3833770"/>
                  <a:pt x="7791072" y="3830567"/>
                </a:cubicBezTo>
                <a:lnTo>
                  <a:pt x="7772656" y="3825763"/>
                </a:lnTo>
                <a:lnTo>
                  <a:pt x="7755040" y="3820158"/>
                </a:lnTo>
                <a:cubicBezTo>
                  <a:pt x="7743030" y="3816155"/>
                  <a:pt x="7731019" y="3812952"/>
                  <a:pt x="7719008" y="3809749"/>
                </a:cubicBezTo>
                <a:cubicBezTo>
                  <a:pt x="7624524" y="3778521"/>
                  <a:pt x="7533244" y="3736884"/>
                  <a:pt x="7449169" y="3684037"/>
                </a:cubicBezTo>
                <a:cubicBezTo>
                  <a:pt x="7407532" y="3658415"/>
                  <a:pt x="7366696" y="3630390"/>
                  <a:pt x="7328262" y="3599162"/>
                </a:cubicBezTo>
                <a:cubicBezTo>
                  <a:pt x="7306643" y="3581547"/>
                  <a:pt x="7285824" y="3563130"/>
                  <a:pt x="7265806" y="3544714"/>
                </a:cubicBezTo>
                <a:close/>
                <a:moveTo>
                  <a:pt x="9188311" y="3540711"/>
                </a:moveTo>
                <a:cubicBezTo>
                  <a:pt x="9185909" y="3541512"/>
                  <a:pt x="9184308" y="3551921"/>
                  <a:pt x="9183507" y="3563932"/>
                </a:cubicBezTo>
                <a:cubicBezTo>
                  <a:pt x="9217938" y="3593558"/>
                  <a:pt x="9252368" y="3618380"/>
                  <a:pt x="9284396" y="3639198"/>
                </a:cubicBezTo>
                <a:cubicBezTo>
                  <a:pt x="9285998" y="3627188"/>
                  <a:pt x="9287599" y="3617579"/>
                  <a:pt x="9287599" y="3615978"/>
                </a:cubicBezTo>
                <a:cubicBezTo>
                  <a:pt x="9288400" y="3611173"/>
                  <a:pt x="9289201" y="3607170"/>
                  <a:pt x="9287599" y="3605569"/>
                </a:cubicBezTo>
                <a:cubicBezTo>
                  <a:pt x="9287599" y="3605569"/>
                  <a:pt x="9287599" y="3605569"/>
                  <a:pt x="9286799" y="3605569"/>
                </a:cubicBezTo>
                <a:cubicBezTo>
                  <a:pt x="9279592" y="3600764"/>
                  <a:pt x="9271585" y="3595159"/>
                  <a:pt x="9264379" y="3590355"/>
                </a:cubicBezTo>
                <a:cubicBezTo>
                  <a:pt x="9239557" y="3573540"/>
                  <a:pt x="9213934" y="3557526"/>
                  <a:pt x="9188311" y="3540711"/>
                </a:cubicBezTo>
                <a:close/>
                <a:moveTo>
                  <a:pt x="9831281" y="3522294"/>
                </a:moveTo>
                <a:lnTo>
                  <a:pt x="9873719" y="3647205"/>
                </a:lnTo>
                <a:lnTo>
                  <a:pt x="9788844" y="3647205"/>
                </a:lnTo>
                <a:close/>
                <a:moveTo>
                  <a:pt x="8369985" y="3522294"/>
                </a:moveTo>
                <a:lnTo>
                  <a:pt x="8412423" y="3647205"/>
                </a:lnTo>
                <a:lnTo>
                  <a:pt x="8327548" y="3647205"/>
                </a:lnTo>
                <a:close/>
                <a:moveTo>
                  <a:pt x="8947297" y="3512686"/>
                </a:moveTo>
                <a:lnTo>
                  <a:pt x="9015357" y="3512686"/>
                </a:lnTo>
                <a:cubicBezTo>
                  <a:pt x="9026567" y="3512686"/>
                  <a:pt x="9036976" y="3515889"/>
                  <a:pt x="9044983" y="3522294"/>
                </a:cubicBezTo>
                <a:cubicBezTo>
                  <a:pt x="9052991" y="3528700"/>
                  <a:pt x="9056994" y="3537508"/>
                  <a:pt x="9056994" y="3547917"/>
                </a:cubicBezTo>
                <a:cubicBezTo>
                  <a:pt x="9056994" y="3559127"/>
                  <a:pt x="9052991" y="3567935"/>
                  <a:pt x="9044983" y="3574340"/>
                </a:cubicBezTo>
                <a:cubicBezTo>
                  <a:pt x="9036976" y="3580746"/>
                  <a:pt x="9027368" y="3583949"/>
                  <a:pt x="9015357" y="3583949"/>
                </a:cubicBezTo>
                <a:lnTo>
                  <a:pt x="8947297" y="3583949"/>
                </a:lnTo>
                <a:close/>
                <a:moveTo>
                  <a:pt x="9193916" y="3503077"/>
                </a:moveTo>
                <a:cubicBezTo>
                  <a:pt x="9191514" y="3512686"/>
                  <a:pt x="9188311" y="3519892"/>
                  <a:pt x="9187510" y="3525497"/>
                </a:cubicBezTo>
                <a:cubicBezTo>
                  <a:pt x="9221140" y="3555123"/>
                  <a:pt x="9255570" y="3580746"/>
                  <a:pt x="9287599" y="3601564"/>
                </a:cubicBezTo>
                <a:cubicBezTo>
                  <a:pt x="9288399" y="3594358"/>
                  <a:pt x="9288399" y="3578344"/>
                  <a:pt x="9286798" y="3563931"/>
                </a:cubicBezTo>
                <a:cubicBezTo>
                  <a:pt x="9278791" y="3559127"/>
                  <a:pt x="9271585" y="3553522"/>
                  <a:pt x="9263578" y="3548717"/>
                </a:cubicBezTo>
                <a:cubicBezTo>
                  <a:pt x="9240357" y="3533504"/>
                  <a:pt x="9217136" y="3518290"/>
                  <a:pt x="9193916" y="3503077"/>
                </a:cubicBezTo>
                <a:close/>
                <a:moveTo>
                  <a:pt x="9205125" y="3471049"/>
                </a:moveTo>
                <a:cubicBezTo>
                  <a:pt x="9204325" y="3474252"/>
                  <a:pt x="9203524" y="3476654"/>
                  <a:pt x="9202723" y="3479857"/>
                </a:cubicBezTo>
                <a:cubicBezTo>
                  <a:pt x="9201122" y="3484661"/>
                  <a:pt x="9199520" y="3489465"/>
                  <a:pt x="9197919" y="3494270"/>
                </a:cubicBezTo>
                <a:cubicBezTo>
                  <a:pt x="9228346" y="3519892"/>
                  <a:pt x="9257972" y="3541511"/>
                  <a:pt x="9286798" y="3560728"/>
                </a:cubicBezTo>
                <a:cubicBezTo>
                  <a:pt x="9285196" y="3549519"/>
                  <a:pt x="9283595" y="3541511"/>
                  <a:pt x="9281994" y="3540711"/>
                </a:cubicBezTo>
                <a:cubicBezTo>
                  <a:pt x="9285196" y="3540711"/>
                  <a:pt x="9283595" y="3534305"/>
                  <a:pt x="9283595" y="3529501"/>
                </a:cubicBezTo>
                <a:cubicBezTo>
                  <a:pt x="9283595" y="3527099"/>
                  <a:pt x="9282794" y="3524697"/>
                  <a:pt x="9281193" y="3520693"/>
                </a:cubicBezTo>
                <a:cubicBezTo>
                  <a:pt x="9278791" y="3519092"/>
                  <a:pt x="9277189" y="3517490"/>
                  <a:pt x="9274787" y="3516689"/>
                </a:cubicBezTo>
                <a:cubicBezTo>
                  <a:pt x="9251567" y="3501476"/>
                  <a:pt x="9228346" y="3486262"/>
                  <a:pt x="9205125" y="3471049"/>
                </a:cubicBezTo>
                <a:close/>
                <a:moveTo>
                  <a:pt x="9210731" y="3441423"/>
                </a:moveTo>
                <a:cubicBezTo>
                  <a:pt x="9210731" y="3442224"/>
                  <a:pt x="9210731" y="3443024"/>
                  <a:pt x="9210731" y="3443825"/>
                </a:cubicBezTo>
                <a:cubicBezTo>
                  <a:pt x="9209930" y="3448629"/>
                  <a:pt x="9209129" y="3454234"/>
                  <a:pt x="9207528" y="3459839"/>
                </a:cubicBezTo>
                <a:cubicBezTo>
                  <a:pt x="9231549" y="3480658"/>
                  <a:pt x="9255571" y="3498273"/>
                  <a:pt x="9278791" y="3514288"/>
                </a:cubicBezTo>
                <a:cubicBezTo>
                  <a:pt x="9276389" y="3504679"/>
                  <a:pt x="9271585" y="3491868"/>
                  <a:pt x="9267581" y="3479056"/>
                </a:cubicBezTo>
                <a:cubicBezTo>
                  <a:pt x="9265980" y="3477455"/>
                  <a:pt x="9265179" y="3476654"/>
                  <a:pt x="9263578" y="3475854"/>
                </a:cubicBezTo>
                <a:cubicBezTo>
                  <a:pt x="9245962" y="3464644"/>
                  <a:pt x="9228347" y="3452633"/>
                  <a:pt x="9210731" y="3441423"/>
                </a:cubicBezTo>
                <a:close/>
                <a:moveTo>
                  <a:pt x="9777634" y="3437419"/>
                </a:moveTo>
                <a:lnTo>
                  <a:pt x="9652723" y="3768913"/>
                </a:lnTo>
                <a:lnTo>
                  <a:pt x="9749609" y="3768913"/>
                </a:lnTo>
                <a:lnTo>
                  <a:pt x="9766424" y="3720870"/>
                </a:lnTo>
                <a:lnTo>
                  <a:pt x="9896939" y="3720870"/>
                </a:lnTo>
                <a:lnTo>
                  <a:pt x="9913754" y="3768913"/>
                </a:lnTo>
                <a:lnTo>
                  <a:pt x="10010640" y="3768913"/>
                </a:lnTo>
                <a:lnTo>
                  <a:pt x="9884929" y="3437419"/>
                </a:lnTo>
                <a:close/>
                <a:moveTo>
                  <a:pt x="8861621" y="3437419"/>
                </a:moveTo>
                <a:lnTo>
                  <a:pt x="8861621" y="3768913"/>
                </a:lnTo>
                <a:lnTo>
                  <a:pt x="8947297" y="3768913"/>
                </a:lnTo>
                <a:lnTo>
                  <a:pt x="8947297" y="3658415"/>
                </a:lnTo>
                <a:lnTo>
                  <a:pt x="8991336" y="3658415"/>
                </a:lnTo>
                <a:lnTo>
                  <a:pt x="9047386" y="3769714"/>
                </a:lnTo>
                <a:lnTo>
                  <a:pt x="9145873" y="3769714"/>
                </a:lnTo>
                <a:lnTo>
                  <a:pt x="9077813" y="3647205"/>
                </a:lnTo>
                <a:cubicBezTo>
                  <a:pt x="9095428" y="3640799"/>
                  <a:pt x="9111442" y="3629589"/>
                  <a:pt x="9124254" y="3612774"/>
                </a:cubicBezTo>
                <a:cubicBezTo>
                  <a:pt x="9137065" y="3595960"/>
                  <a:pt x="9144272" y="3574340"/>
                  <a:pt x="9144272" y="3547917"/>
                </a:cubicBezTo>
                <a:cubicBezTo>
                  <a:pt x="9144272" y="3515889"/>
                  <a:pt x="9133862" y="3489465"/>
                  <a:pt x="9113044" y="3468647"/>
                </a:cubicBezTo>
                <a:cubicBezTo>
                  <a:pt x="9092225" y="3447828"/>
                  <a:pt x="9064201" y="3437419"/>
                  <a:pt x="9028169" y="3437419"/>
                </a:cubicBezTo>
                <a:close/>
                <a:moveTo>
                  <a:pt x="8573366" y="3437419"/>
                </a:moveTo>
                <a:lnTo>
                  <a:pt x="8573366" y="3769714"/>
                </a:lnTo>
                <a:lnTo>
                  <a:pt x="8659042" y="3769714"/>
                </a:lnTo>
                <a:lnTo>
                  <a:pt x="8659042" y="3638397"/>
                </a:lnTo>
                <a:lnTo>
                  <a:pt x="8812778" y="3638397"/>
                </a:lnTo>
                <a:lnTo>
                  <a:pt x="8812778" y="3563931"/>
                </a:lnTo>
                <a:lnTo>
                  <a:pt x="8659042" y="3563931"/>
                </a:lnTo>
                <a:lnTo>
                  <a:pt x="8659042" y="3511885"/>
                </a:lnTo>
                <a:lnTo>
                  <a:pt x="8816782" y="3511885"/>
                </a:lnTo>
                <a:lnTo>
                  <a:pt x="8816782" y="3437419"/>
                </a:lnTo>
                <a:close/>
                <a:moveTo>
                  <a:pt x="8316338" y="3437419"/>
                </a:moveTo>
                <a:lnTo>
                  <a:pt x="8191427" y="3768913"/>
                </a:lnTo>
                <a:lnTo>
                  <a:pt x="8288313" y="3768913"/>
                </a:lnTo>
                <a:lnTo>
                  <a:pt x="8305128" y="3720870"/>
                </a:lnTo>
                <a:lnTo>
                  <a:pt x="8435643" y="3720870"/>
                </a:lnTo>
                <a:lnTo>
                  <a:pt x="8452458" y="3768913"/>
                </a:lnTo>
                <a:lnTo>
                  <a:pt x="8549344" y="3768913"/>
                </a:lnTo>
                <a:lnTo>
                  <a:pt x="8423633" y="3437419"/>
                </a:lnTo>
                <a:close/>
                <a:moveTo>
                  <a:pt x="9502190" y="3434216"/>
                </a:moveTo>
                <a:cubicBezTo>
                  <a:pt x="9450144" y="3434216"/>
                  <a:pt x="9407706" y="3450230"/>
                  <a:pt x="9373275" y="3482259"/>
                </a:cubicBezTo>
                <a:cubicBezTo>
                  <a:pt x="9339646" y="3514287"/>
                  <a:pt x="9322030" y="3555123"/>
                  <a:pt x="9322030" y="3606369"/>
                </a:cubicBezTo>
                <a:cubicBezTo>
                  <a:pt x="9322030" y="3656813"/>
                  <a:pt x="9338845" y="3697650"/>
                  <a:pt x="9373275" y="3729678"/>
                </a:cubicBezTo>
                <a:cubicBezTo>
                  <a:pt x="9407706" y="3761706"/>
                  <a:pt x="9450144" y="3777721"/>
                  <a:pt x="9501389" y="3777721"/>
                </a:cubicBezTo>
                <a:cubicBezTo>
                  <a:pt x="9539022" y="3775318"/>
                  <a:pt x="9569449" y="3767311"/>
                  <a:pt x="9592670" y="3749696"/>
                </a:cubicBezTo>
                <a:cubicBezTo>
                  <a:pt x="9616691" y="3732881"/>
                  <a:pt x="9634307" y="3711262"/>
                  <a:pt x="9647118" y="3686440"/>
                </a:cubicBezTo>
                <a:lnTo>
                  <a:pt x="9573453" y="3652009"/>
                </a:lnTo>
                <a:cubicBezTo>
                  <a:pt x="9567848" y="3665621"/>
                  <a:pt x="9558239" y="3676831"/>
                  <a:pt x="9545428" y="3686440"/>
                </a:cubicBezTo>
                <a:cubicBezTo>
                  <a:pt x="9532617" y="3696048"/>
                  <a:pt x="9518204" y="3700052"/>
                  <a:pt x="9502190" y="3700052"/>
                </a:cubicBezTo>
                <a:cubicBezTo>
                  <a:pt x="9474966" y="3700052"/>
                  <a:pt x="9453346" y="3691244"/>
                  <a:pt x="9435731" y="3672827"/>
                </a:cubicBezTo>
                <a:cubicBezTo>
                  <a:pt x="9418115" y="3654411"/>
                  <a:pt x="9409307" y="3631991"/>
                  <a:pt x="9409307" y="3604767"/>
                </a:cubicBezTo>
                <a:cubicBezTo>
                  <a:pt x="9409307" y="3577543"/>
                  <a:pt x="9418115" y="3555123"/>
                  <a:pt x="9435731" y="3536707"/>
                </a:cubicBezTo>
                <a:cubicBezTo>
                  <a:pt x="9453346" y="3518291"/>
                  <a:pt x="9474966" y="3509483"/>
                  <a:pt x="9502190" y="3509483"/>
                </a:cubicBezTo>
                <a:cubicBezTo>
                  <a:pt x="9517403" y="3509483"/>
                  <a:pt x="9531816" y="3514287"/>
                  <a:pt x="9545428" y="3523095"/>
                </a:cubicBezTo>
                <a:cubicBezTo>
                  <a:pt x="9558239" y="3532703"/>
                  <a:pt x="9567848" y="3543913"/>
                  <a:pt x="9573453" y="3557525"/>
                </a:cubicBezTo>
                <a:lnTo>
                  <a:pt x="9647118" y="3523095"/>
                </a:lnTo>
                <a:cubicBezTo>
                  <a:pt x="9617492" y="3463842"/>
                  <a:pt x="9568649" y="3434216"/>
                  <a:pt x="9502190" y="3434216"/>
                </a:cubicBezTo>
                <a:close/>
                <a:moveTo>
                  <a:pt x="9212332" y="3416601"/>
                </a:moveTo>
                <a:cubicBezTo>
                  <a:pt x="9212332" y="3420605"/>
                  <a:pt x="9212332" y="3426210"/>
                  <a:pt x="9212332" y="3431814"/>
                </a:cubicBezTo>
                <a:cubicBezTo>
                  <a:pt x="9229948" y="3447028"/>
                  <a:pt x="9248364" y="3460640"/>
                  <a:pt x="9265980" y="3472651"/>
                </a:cubicBezTo>
                <a:cubicBezTo>
                  <a:pt x="9263578" y="3464644"/>
                  <a:pt x="9261175" y="3455836"/>
                  <a:pt x="9259574" y="3447829"/>
                </a:cubicBezTo>
                <a:cubicBezTo>
                  <a:pt x="9257972" y="3447028"/>
                  <a:pt x="9256371" y="3445427"/>
                  <a:pt x="9254770" y="3444626"/>
                </a:cubicBezTo>
                <a:cubicBezTo>
                  <a:pt x="9240357" y="3435017"/>
                  <a:pt x="9226745" y="3426210"/>
                  <a:pt x="9212332" y="3416601"/>
                </a:cubicBezTo>
                <a:close/>
                <a:moveTo>
                  <a:pt x="9213934" y="3384572"/>
                </a:moveTo>
                <a:cubicBezTo>
                  <a:pt x="9213133" y="3385373"/>
                  <a:pt x="9212332" y="3386173"/>
                  <a:pt x="9211532" y="3386974"/>
                </a:cubicBezTo>
                <a:cubicBezTo>
                  <a:pt x="9210731" y="3389376"/>
                  <a:pt x="9210731" y="3391778"/>
                  <a:pt x="9212332" y="3392579"/>
                </a:cubicBezTo>
                <a:cubicBezTo>
                  <a:pt x="9213934" y="3394181"/>
                  <a:pt x="9213934" y="3394981"/>
                  <a:pt x="9213934" y="3396583"/>
                </a:cubicBezTo>
                <a:cubicBezTo>
                  <a:pt x="9213934" y="3397383"/>
                  <a:pt x="9211532" y="3402188"/>
                  <a:pt x="9210731" y="3406191"/>
                </a:cubicBezTo>
                <a:cubicBezTo>
                  <a:pt x="9226745" y="3419803"/>
                  <a:pt x="9242759" y="3431814"/>
                  <a:pt x="9258774" y="3443024"/>
                </a:cubicBezTo>
                <a:cubicBezTo>
                  <a:pt x="9257172" y="3433415"/>
                  <a:pt x="9257973" y="3420604"/>
                  <a:pt x="9257973" y="3414999"/>
                </a:cubicBezTo>
                <a:cubicBezTo>
                  <a:pt x="9257973" y="3414999"/>
                  <a:pt x="9257973" y="3414999"/>
                  <a:pt x="9258774" y="3414198"/>
                </a:cubicBezTo>
                <a:cubicBezTo>
                  <a:pt x="9257172" y="3413398"/>
                  <a:pt x="9256371" y="3412597"/>
                  <a:pt x="9254770" y="3411796"/>
                </a:cubicBezTo>
                <a:cubicBezTo>
                  <a:pt x="9241158" y="3402988"/>
                  <a:pt x="9227546" y="3394181"/>
                  <a:pt x="9213934" y="3384572"/>
                </a:cubicBezTo>
                <a:close/>
                <a:moveTo>
                  <a:pt x="9235553" y="3382971"/>
                </a:moveTo>
                <a:cubicBezTo>
                  <a:pt x="9230749" y="3382971"/>
                  <a:pt x="9225945" y="3382971"/>
                  <a:pt x="9222742" y="3383772"/>
                </a:cubicBezTo>
                <a:cubicBezTo>
                  <a:pt x="9235553" y="3393380"/>
                  <a:pt x="9248365" y="3402989"/>
                  <a:pt x="9261176" y="3411797"/>
                </a:cubicBezTo>
                <a:cubicBezTo>
                  <a:pt x="9260375" y="3410996"/>
                  <a:pt x="9260375" y="3410195"/>
                  <a:pt x="9260375" y="3409394"/>
                </a:cubicBezTo>
                <a:cubicBezTo>
                  <a:pt x="9260375" y="3406192"/>
                  <a:pt x="9256372" y="3398985"/>
                  <a:pt x="9256372" y="3397384"/>
                </a:cubicBezTo>
                <a:cubicBezTo>
                  <a:pt x="9256372" y="3396583"/>
                  <a:pt x="9256372" y="3394982"/>
                  <a:pt x="9257973" y="3393380"/>
                </a:cubicBezTo>
                <a:cubicBezTo>
                  <a:pt x="9259575" y="3391779"/>
                  <a:pt x="9259575" y="3389377"/>
                  <a:pt x="9258774" y="3387775"/>
                </a:cubicBezTo>
                <a:cubicBezTo>
                  <a:pt x="9257973" y="3385373"/>
                  <a:pt x="9254770" y="3384572"/>
                  <a:pt x="9253169" y="3383772"/>
                </a:cubicBezTo>
                <a:cubicBezTo>
                  <a:pt x="9251568" y="3383772"/>
                  <a:pt x="9243561" y="3382971"/>
                  <a:pt x="9235553" y="3382971"/>
                </a:cubicBezTo>
                <a:close/>
                <a:moveTo>
                  <a:pt x="7439561" y="3322117"/>
                </a:moveTo>
                <a:cubicBezTo>
                  <a:pt x="7438760" y="3330124"/>
                  <a:pt x="7438760" y="3338932"/>
                  <a:pt x="7439561" y="3347740"/>
                </a:cubicBezTo>
                <a:cubicBezTo>
                  <a:pt x="7372301" y="3399786"/>
                  <a:pt x="7316251" y="3463843"/>
                  <a:pt x="7270611" y="3536707"/>
                </a:cubicBezTo>
                <a:cubicBezTo>
                  <a:pt x="7273814" y="3539109"/>
                  <a:pt x="7276216" y="3540711"/>
                  <a:pt x="7279419" y="3543113"/>
                </a:cubicBezTo>
                <a:cubicBezTo>
                  <a:pt x="7299437" y="3557526"/>
                  <a:pt x="7319454" y="3571138"/>
                  <a:pt x="7339472" y="3583949"/>
                </a:cubicBezTo>
                <a:cubicBezTo>
                  <a:pt x="7380308" y="3609572"/>
                  <a:pt x="7422746" y="3634394"/>
                  <a:pt x="7465984" y="3655212"/>
                </a:cubicBezTo>
                <a:cubicBezTo>
                  <a:pt x="7551660" y="3698451"/>
                  <a:pt x="7642140" y="3732881"/>
                  <a:pt x="7734222" y="3757703"/>
                </a:cubicBezTo>
                <a:cubicBezTo>
                  <a:pt x="7826304" y="3781724"/>
                  <a:pt x="7920787" y="3796938"/>
                  <a:pt x="8016072" y="3798539"/>
                </a:cubicBezTo>
                <a:lnTo>
                  <a:pt x="8051303" y="3799340"/>
                </a:lnTo>
                <a:lnTo>
                  <a:pt x="8086534" y="3798539"/>
                </a:lnTo>
                <a:cubicBezTo>
                  <a:pt x="8090538" y="3798539"/>
                  <a:pt x="8094541" y="3798539"/>
                  <a:pt x="8099346" y="3798539"/>
                </a:cubicBezTo>
                <a:lnTo>
                  <a:pt x="8179417" y="3584750"/>
                </a:lnTo>
                <a:lnTo>
                  <a:pt x="8171410" y="3584750"/>
                </a:lnTo>
                <a:cubicBezTo>
                  <a:pt x="8165805" y="3584750"/>
                  <a:pt x="8159399" y="3584750"/>
                  <a:pt x="8153794" y="3584750"/>
                </a:cubicBezTo>
                <a:lnTo>
                  <a:pt x="8136178" y="3583949"/>
                </a:lnTo>
                <a:lnTo>
                  <a:pt x="8100947" y="3582348"/>
                </a:lnTo>
                <a:cubicBezTo>
                  <a:pt x="8088936" y="3581547"/>
                  <a:pt x="8077726" y="3579946"/>
                  <a:pt x="8065716" y="3579145"/>
                </a:cubicBezTo>
                <a:cubicBezTo>
                  <a:pt x="8018474" y="3575141"/>
                  <a:pt x="7972033" y="3566333"/>
                  <a:pt x="7926392" y="3556725"/>
                </a:cubicBezTo>
                <a:cubicBezTo>
                  <a:pt x="7880752" y="3546316"/>
                  <a:pt x="7835111" y="3533504"/>
                  <a:pt x="7791072" y="3517490"/>
                </a:cubicBezTo>
                <a:cubicBezTo>
                  <a:pt x="7702194" y="3486263"/>
                  <a:pt x="7618119" y="3444626"/>
                  <a:pt x="7539650" y="3394181"/>
                </a:cubicBezTo>
                <a:cubicBezTo>
                  <a:pt x="7505219" y="3371761"/>
                  <a:pt x="7471589" y="3347740"/>
                  <a:pt x="7439561" y="3322117"/>
                </a:cubicBezTo>
                <a:close/>
                <a:moveTo>
                  <a:pt x="8122214" y="3038898"/>
                </a:moveTo>
                <a:cubicBezTo>
                  <a:pt x="8115335" y="3038540"/>
                  <a:pt x="8107453" y="3040166"/>
                  <a:pt x="8098545" y="3044270"/>
                </a:cubicBezTo>
                <a:cubicBezTo>
                  <a:pt x="8029684" y="3062686"/>
                  <a:pt x="7959221" y="3049875"/>
                  <a:pt x="7890360" y="3058683"/>
                </a:cubicBezTo>
                <a:cubicBezTo>
                  <a:pt x="7812691" y="3053078"/>
                  <a:pt x="7737425" y="3150764"/>
                  <a:pt x="7674969" y="3119537"/>
                </a:cubicBezTo>
                <a:cubicBezTo>
                  <a:pt x="7599703" y="3138754"/>
                  <a:pt x="7572478" y="3055480"/>
                  <a:pt x="7548457" y="3169181"/>
                </a:cubicBezTo>
                <a:cubicBezTo>
                  <a:pt x="7492407" y="3209216"/>
                  <a:pt x="7452372" y="3239643"/>
                  <a:pt x="7441162" y="3298896"/>
                </a:cubicBezTo>
                <a:cubicBezTo>
                  <a:pt x="7477995" y="3322116"/>
                  <a:pt x="7516429" y="3344536"/>
                  <a:pt x="7555664" y="3364554"/>
                </a:cubicBezTo>
                <a:cubicBezTo>
                  <a:pt x="7636535" y="3406191"/>
                  <a:pt x="7720610" y="3440621"/>
                  <a:pt x="7807086" y="3465443"/>
                </a:cubicBezTo>
                <a:lnTo>
                  <a:pt x="7839915" y="3474251"/>
                </a:lnTo>
                <a:cubicBezTo>
                  <a:pt x="7851125" y="3477454"/>
                  <a:pt x="7861535" y="3479856"/>
                  <a:pt x="7872745" y="3482258"/>
                </a:cubicBezTo>
                <a:cubicBezTo>
                  <a:pt x="7894364" y="3487863"/>
                  <a:pt x="7916784" y="3491867"/>
                  <a:pt x="7938403" y="3496671"/>
                </a:cubicBezTo>
                <a:cubicBezTo>
                  <a:pt x="7982442" y="3503877"/>
                  <a:pt x="8027282" y="3510283"/>
                  <a:pt x="8071321" y="3513486"/>
                </a:cubicBezTo>
                <a:cubicBezTo>
                  <a:pt x="8082531" y="3514287"/>
                  <a:pt x="8093740" y="3515087"/>
                  <a:pt x="8104950" y="3515888"/>
                </a:cubicBezTo>
                <a:lnTo>
                  <a:pt x="8138580" y="3516689"/>
                </a:lnTo>
                <a:lnTo>
                  <a:pt x="8155395" y="3517490"/>
                </a:lnTo>
                <a:cubicBezTo>
                  <a:pt x="8161000" y="3517490"/>
                  <a:pt x="8166605" y="3517490"/>
                  <a:pt x="8172210" y="3517490"/>
                </a:cubicBezTo>
                <a:lnTo>
                  <a:pt x="8205840" y="3516689"/>
                </a:lnTo>
                <a:cubicBezTo>
                  <a:pt x="8205840" y="3516689"/>
                  <a:pt x="8206641" y="3516689"/>
                  <a:pt x="8206641" y="3516689"/>
                </a:cubicBezTo>
                <a:lnTo>
                  <a:pt x="8264292" y="3362953"/>
                </a:lnTo>
                <a:lnTo>
                  <a:pt x="8475679" y="3362953"/>
                </a:lnTo>
                <a:lnTo>
                  <a:pt x="8498099" y="3422205"/>
                </a:lnTo>
                <a:lnTo>
                  <a:pt x="8498099" y="3362953"/>
                </a:lnTo>
                <a:lnTo>
                  <a:pt x="8872030" y="3362953"/>
                </a:lnTo>
                <a:cubicBezTo>
                  <a:pt x="8880038" y="3360550"/>
                  <a:pt x="8887244" y="3358949"/>
                  <a:pt x="8895251" y="3356547"/>
                </a:cubicBezTo>
                <a:cubicBezTo>
                  <a:pt x="8881639" y="3309305"/>
                  <a:pt x="8868027" y="3263665"/>
                  <a:pt x="8810376" y="3302099"/>
                </a:cubicBezTo>
                <a:cubicBezTo>
                  <a:pt x="8729504" y="3315711"/>
                  <a:pt x="8627814" y="3279679"/>
                  <a:pt x="8570964" y="3236440"/>
                </a:cubicBezTo>
                <a:cubicBezTo>
                  <a:pt x="8391605" y="3202811"/>
                  <a:pt x="8561355" y="3406992"/>
                  <a:pt x="8336356" y="3294892"/>
                </a:cubicBezTo>
                <a:cubicBezTo>
                  <a:pt x="8293117" y="3212419"/>
                  <a:pt x="8174612" y="3248451"/>
                  <a:pt x="8127370" y="3169181"/>
                </a:cubicBezTo>
                <a:cubicBezTo>
                  <a:pt x="8169407" y="3141156"/>
                  <a:pt x="8170371" y="3041405"/>
                  <a:pt x="8122214" y="3038898"/>
                </a:cubicBezTo>
                <a:close/>
                <a:moveTo>
                  <a:pt x="2205490" y="1039037"/>
                </a:moveTo>
                <a:lnTo>
                  <a:pt x="2209877" y="1039037"/>
                </a:lnTo>
                <a:cubicBezTo>
                  <a:pt x="2211340" y="1039037"/>
                  <a:pt x="2212802" y="1039037"/>
                  <a:pt x="2214265" y="1039037"/>
                </a:cubicBezTo>
                <a:cubicBezTo>
                  <a:pt x="2215727" y="1039037"/>
                  <a:pt x="2215727" y="1039037"/>
                  <a:pt x="2215727" y="1040500"/>
                </a:cubicBezTo>
                <a:cubicBezTo>
                  <a:pt x="2215727" y="1040500"/>
                  <a:pt x="2215727" y="1041962"/>
                  <a:pt x="2215727" y="1041962"/>
                </a:cubicBezTo>
                <a:cubicBezTo>
                  <a:pt x="2215727" y="1043424"/>
                  <a:pt x="2215727" y="1043424"/>
                  <a:pt x="2215727" y="1043424"/>
                </a:cubicBezTo>
                <a:cubicBezTo>
                  <a:pt x="2215727" y="1043424"/>
                  <a:pt x="2214265" y="1044887"/>
                  <a:pt x="2214265" y="1044887"/>
                </a:cubicBezTo>
                <a:cubicBezTo>
                  <a:pt x="2214265" y="1044887"/>
                  <a:pt x="2212802" y="1044887"/>
                  <a:pt x="2209877" y="1044887"/>
                </a:cubicBezTo>
                <a:lnTo>
                  <a:pt x="2205490" y="1044887"/>
                </a:lnTo>
                <a:close/>
                <a:moveTo>
                  <a:pt x="2201103" y="1034650"/>
                </a:moveTo>
                <a:lnTo>
                  <a:pt x="2201103" y="1060974"/>
                </a:lnTo>
                <a:lnTo>
                  <a:pt x="2206952" y="1060974"/>
                </a:lnTo>
                <a:lnTo>
                  <a:pt x="2206952" y="1050737"/>
                </a:lnTo>
                <a:lnTo>
                  <a:pt x="2208415" y="1050737"/>
                </a:lnTo>
                <a:cubicBezTo>
                  <a:pt x="2209877" y="1050737"/>
                  <a:pt x="2209877" y="1050737"/>
                  <a:pt x="2211340" y="1050737"/>
                </a:cubicBezTo>
                <a:cubicBezTo>
                  <a:pt x="2211340" y="1050737"/>
                  <a:pt x="2212802" y="1050737"/>
                  <a:pt x="2212802" y="1052199"/>
                </a:cubicBezTo>
                <a:cubicBezTo>
                  <a:pt x="2212802" y="1052199"/>
                  <a:pt x="2214265" y="1053661"/>
                  <a:pt x="2215727" y="1056586"/>
                </a:cubicBezTo>
                <a:lnTo>
                  <a:pt x="2220114" y="1062436"/>
                </a:lnTo>
                <a:lnTo>
                  <a:pt x="2225964" y="1062436"/>
                </a:lnTo>
                <a:lnTo>
                  <a:pt x="2223039" y="1058049"/>
                </a:lnTo>
                <a:cubicBezTo>
                  <a:pt x="2220114" y="1052199"/>
                  <a:pt x="2218652" y="1050737"/>
                  <a:pt x="2218652" y="1050737"/>
                </a:cubicBezTo>
                <a:cubicBezTo>
                  <a:pt x="2217190" y="1049274"/>
                  <a:pt x="2217190" y="1049274"/>
                  <a:pt x="2215727" y="1049274"/>
                </a:cubicBezTo>
                <a:cubicBezTo>
                  <a:pt x="2218652" y="1049274"/>
                  <a:pt x="2220114" y="1047812"/>
                  <a:pt x="2221577" y="1046349"/>
                </a:cubicBezTo>
                <a:cubicBezTo>
                  <a:pt x="2223039" y="1044887"/>
                  <a:pt x="2223039" y="1043424"/>
                  <a:pt x="2223039" y="1041962"/>
                </a:cubicBezTo>
                <a:cubicBezTo>
                  <a:pt x="2223039" y="1040500"/>
                  <a:pt x="2223039" y="1039037"/>
                  <a:pt x="2221577" y="1037575"/>
                </a:cubicBezTo>
                <a:cubicBezTo>
                  <a:pt x="2220114" y="1036112"/>
                  <a:pt x="2220114" y="1036112"/>
                  <a:pt x="2218652" y="1034650"/>
                </a:cubicBezTo>
                <a:cubicBezTo>
                  <a:pt x="2217190" y="1034650"/>
                  <a:pt x="2215727" y="1034650"/>
                  <a:pt x="2212802" y="1034650"/>
                </a:cubicBezTo>
                <a:close/>
                <a:moveTo>
                  <a:pt x="2171854" y="1033187"/>
                </a:moveTo>
                <a:lnTo>
                  <a:pt x="2171854" y="1059511"/>
                </a:lnTo>
                <a:lnTo>
                  <a:pt x="2176242" y="1059511"/>
                </a:lnTo>
                <a:lnTo>
                  <a:pt x="2176242" y="1039037"/>
                </a:lnTo>
                <a:lnTo>
                  <a:pt x="2182091" y="1059511"/>
                </a:lnTo>
                <a:lnTo>
                  <a:pt x="2187941" y="1059511"/>
                </a:lnTo>
                <a:lnTo>
                  <a:pt x="2193791" y="1039037"/>
                </a:lnTo>
                <a:lnTo>
                  <a:pt x="2193791" y="1059511"/>
                </a:lnTo>
                <a:lnTo>
                  <a:pt x="2198178" y="1059511"/>
                </a:lnTo>
                <a:lnTo>
                  <a:pt x="2198178" y="1033187"/>
                </a:lnTo>
                <a:lnTo>
                  <a:pt x="2190865" y="1033187"/>
                </a:lnTo>
                <a:lnTo>
                  <a:pt x="2183554" y="1050737"/>
                </a:lnTo>
                <a:lnTo>
                  <a:pt x="2179167" y="1033187"/>
                </a:lnTo>
                <a:close/>
                <a:moveTo>
                  <a:pt x="1727278" y="873783"/>
                </a:moveTo>
                <a:cubicBezTo>
                  <a:pt x="1730202" y="879633"/>
                  <a:pt x="1733127" y="884020"/>
                  <a:pt x="1737514" y="889870"/>
                </a:cubicBezTo>
                <a:cubicBezTo>
                  <a:pt x="1738977" y="892795"/>
                  <a:pt x="1741902" y="894257"/>
                  <a:pt x="1744826" y="897182"/>
                </a:cubicBezTo>
                <a:cubicBezTo>
                  <a:pt x="1747751" y="900107"/>
                  <a:pt x="1752139" y="901569"/>
                  <a:pt x="1757988" y="904494"/>
                </a:cubicBezTo>
                <a:cubicBezTo>
                  <a:pt x="1763838" y="907419"/>
                  <a:pt x="1771150" y="910344"/>
                  <a:pt x="1778462" y="911806"/>
                </a:cubicBezTo>
                <a:cubicBezTo>
                  <a:pt x="1769688" y="923506"/>
                  <a:pt x="1763838" y="935205"/>
                  <a:pt x="1756526" y="943980"/>
                </a:cubicBezTo>
                <a:cubicBezTo>
                  <a:pt x="1749214" y="954217"/>
                  <a:pt x="1741902" y="962991"/>
                  <a:pt x="1734590" y="971766"/>
                </a:cubicBezTo>
                <a:cubicBezTo>
                  <a:pt x="1727278" y="980540"/>
                  <a:pt x="1721428" y="986390"/>
                  <a:pt x="1715578" y="992240"/>
                </a:cubicBezTo>
                <a:cubicBezTo>
                  <a:pt x="1709728" y="998089"/>
                  <a:pt x="1705341" y="1001014"/>
                  <a:pt x="1700954" y="1003939"/>
                </a:cubicBezTo>
                <a:cubicBezTo>
                  <a:pt x="1696567" y="1006864"/>
                  <a:pt x="1693642" y="1008326"/>
                  <a:pt x="1692179" y="1009789"/>
                </a:cubicBezTo>
                <a:cubicBezTo>
                  <a:pt x="1689255" y="1011251"/>
                  <a:pt x="1687792" y="1011251"/>
                  <a:pt x="1686330" y="1011251"/>
                </a:cubicBezTo>
                <a:cubicBezTo>
                  <a:pt x="1680480" y="1011251"/>
                  <a:pt x="1676093" y="1008326"/>
                  <a:pt x="1671704" y="1002477"/>
                </a:cubicBezTo>
                <a:cubicBezTo>
                  <a:pt x="1670243" y="1001014"/>
                  <a:pt x="1668781" y="998089"/>
                  <a:pt x="1668781" y="995164"/>
                </a:cubicBezTo>
                <a:cubicBezTo>
                  <a:pt x="1667318" y="989315"/>
                  <a:pt x="1665856" y="983465"/>
                  <a:pt x="1667318" y="976153"/>
                </a:cubicBezTo>
                <a:cubicBezTo>
                  <a:pt x="1667318" y="971766"/>
                  <a:pt x="1668781" y="965916"/>
                  <a:pt x="1670243" y="960066"/>
                </a:cubicBezTo>
                <a:cubicBezTo>
                  <a:pt x="1671704" y="954217"/>
                  <a:pt x="1673168" y="948367"/>
                  <a:pt x="1676093" y="941055"/>
                </a:cubicBezTo>
                <a:cubicBezTo>
                  <a:pt x="1686330" y="919118"/>
                  <a:pt x="1703879" y="894257"/>
                  <a:pt x="1727278" y="873783"/>
                </a:cubicBezTo>
                <a:close/>
                <a:moveTo>
                  <a:pt x="2126519" y="815286"/>
                </a:moveTo>
                <a:cubicBezTo>
                  <a:pt x="2129444" y="815286"/>
                  <a:pt x="2132368" y="815286"/>
                  <a:pt x="2135294" y="816749"/>
                </a:cubicBezTo>
                <a:cubicBezTo>
                  <a:pt x="2138219" y="819674"/>
                  <a:pt x="2136756" y="824061"/>
                  <a:pt x="2135294" y="828448"/>
                </a:cubicBezTo>
                <a:cubicBezTo>
                  <a:pt x="2133831" y="831373"/>
                  <a:pt x="2133831" y="834298"/>
                  <a:pt x="2130907" y="838685"/>
                </a:cubicBezTo>
                <a:cubicBezTo>
                  <a:pt x="2129444" y="843072"/>
                  <a:pt x="2126519" y="847460"/>
                  <a:pt x="2123594" y="851847"/>
                </a:cubicBezTo>
                <a:lnTo>
                  <a:pt x="2056323" y="957141"/>
                </a:lnTo>
                <a:cubicBezTo>
                  <a:pt x="2049011" y="967378"/>
                  <a:pt x="2041699" y="977615"/>
                  <a:pt x="2035849" y="984927"/>
                </a:cubicBezTo>
                <a:cubicBezTo>
                  <a:pt x="2029999" y="992240"/>
                  <a:pt x="2025612" y="996627"/>
                  <a:pt x="2021225" y="999552"/>
                </a:cubicBezTo>
                <a:cubicBezTo>
                  <a:pt x="2016837" y="1002477"/>
                  <a:pt x="2013913" y="1005401"/>
                  <a:pt x="2010988" y="1006864"/>
                </a:cubicBezTo>
                <a:cubicBezTo>
                  <a:pt x="2005138" y="1009789"/>
                  <a:pt x="1997826" y="1009789"/>
                  <a:pt x="1993438" y="1006864"/>
                </a:cubicBezTo>
                <a:cubicBezTo>
                  <a:pt x="1989051" y="1002477"/>
                  <a:pt x="1990514" y="998089"/>
                  <a:pt x="1990514" y="992240"/>
                </a:cubicBezTo>
                <a:cubicBezTo>
                  <a:pt x="1990514" y="989315"/>
                  <a:pt x="1991976" y="984927"/>
                  <a:pt x="1991976" y="980540"/>
                </a:cubicBezTo>
                <a:cubicBezTo>
                  <a:pt x="1993438" y="976153"/>
                  <a:pt x="1994901" y="970303"/>
                  <a:pt x="1996363" y="965916"/>
                </a:cubicBezTo>
                <a:cubicBezTo>
                  <a:pt x="1997826" y="960066"/>
                  <a:pt x="2000751" y="954217"/>
                  <a:pt x="2005138" y="946905"/>
                </a:cubicBezTo>
                <a:cubicBezTo>
                  <a:pt x="2009525" y="939592"/>
                  <a:pt x="2013913" y="930818"/>
                  <a:pt x="2019762" y="922043"/>
                </a:cubicBezTo>
                <a:cubicBezTo>
                  <a:pt x="2025612" y="913269"/>
                  <a:pt x="2032924" y="901569"/>
                  <a:pt x="2041699" y="891332"/>
                </a:cubicBezTo>
                <a:cubicBezTo>
                  <a:pt x="2050473" y="881095"/>
                  <a:pt x="2059248" y="869396"/>
                  <a:pt x="2068022" y="860622"/>
                </a:cubicBezTo>
                <a:cubicBezTo>
                  <a:pt x="2076797" y="850385"/>
                  <a:pt x="2085570" y="843072"/>
                  <a:pt x="2092884" y="835760"/>
                </a:cubicBezTo>
                <a:cubicBezTo>
                  <a:pt x="2100196" y="829911"/>
                  <a:pt x="2106045" y="825523"/>
                  <a:pt x="2110433" y="822599"/>
                </a:cubicBezTo>
                <a:cubicBezTo>
                  <a:pt x="2114820" y="819674"/>
                  <a:pt x="2117745" y="818211"/>
                  <a:pt x="2120670" y="816749"/>
                </a:cubicBezTo>
                <a:cubicBezTo>
                  <a:pt x="2123594" y="815286"/>
                  <a:pt x="2125057" y="815286"/>
                  <a:pt x="2126519" y="815286"/>
                </a:cubicBezTo>
                <a:close/>
                <a:moveTo>
                  <a:pt x="1784312" y="813824"/>
                </a:moveTo>
                <a:cubicBezTo>
                  <a:pt x="1790162" y="813824"/>
                  <a:pt x="1794549" y="813824"/>
                  <a:pt x="1798936" y="818211"/>
                </a:cubicBezTo>
                <a:cubicBezTo>
                  <a:pt x="1803324" y="822599"/>
                  <a:pt x="1803324" y="826986"/>
                  <a:pt x="1803324" y="834298"/>
                </a:cubicBezTo>
                <a:cubicBezTo>
                  <a:pt x="1801861" y="837223"/>
                  <a:pt x="1801861" y="841610"/>
                  <a:pt x="1801861" y="844535"/>
                </a:cubicBezTo>
                <a:cubicBezTo>
                  <a:pt x="1801861" y="847460"/>
                  <a:pt x="1800399" y="851847"/>
                  <a:pt x="1800399" y="854772"/>
                </a:cubicBezTo>
                <a:cubicBezTo>
                  <a:pt x="1800399" y="857697"/>
                  <a:pt x="1798936" y="862084"/>
                  <a:pt x="1796011" y="867934"/>
                </a:cubicBezTo>
                <a:cubicBezTo>
                  <a:pt x="1793087" y="875246"/>
                  <a:pt x="1787237" y="885483"/>
                  <a:pt x="1782850" y="895720"/>
                </a:cubicBezTo>
                <a:cubicBezTo>
                  <a:pt x="1777000" y="894257"/>
                  <a:pt x="1771150" y="891332"/>
                  <a:pt x="1766763" y="889870"/>
                </a:cubicBezTo>
                <a:cubicBezTo>
                  <a:pt x="1762376" y="888408"/>
                  <a:pt x="1759451" y="885483"/>
                  <a:pt x="1757988" y="884020"/>
                </a:cubicBezTo>
                <a:cubicBezTo>
                  <a:pt x="1756526" y="882558"/>
                  <a:pt x="1753601" y="881095"/>
                  <a:pt x="1753601" y="879633"/>
                </a:cubicBezTo>
                <a:cubicBezTo>
                  <a:pt x="1750676" y="876708"/>
                  <a:pt x="1749214" y="873783"/>
                  <a:pt x="1747751" y="869396"/>
                </a:cubicBezTo>
                <a:cubicBezTo>
                  <a:pt x="1743364" y="851847"/>
                  <a:pt x="1746289" y="832835"/>
                  <a:pt x="1766763" y="819674"/>
                </a:cubicBezTo>
                <a:cubicBezTo>
                  <a:pt x="1772613" y="815286"/>
                  <a:pt x="1778462" y="813824"/>
                  <a:pt x="1784312" y="813824"/>
                </a:cubicBezTo>
                <a:close/>
                <a:moveTo>
                  <a:pt x="797176" y="734853"/>
                </a:moveTo>
                <a:cubicBezTo>
                  <a:pt x="801563" y="742165"/>
                  <a:pt x="807413" y="748015"/>
                  <a:pt x="811800" y="753865"/>
                </a:cubicBezTo>
                <a:cubicBezTo>
                  <a:pt x="816187" y="758252"/>
                  <a:pt x="819112" y="761177"/>
                  <a:pt x="824962" y="764102"/>
                </a:cubicBezTo>
                <a:cubicBezTo>
                  <a:pt x="829349" y="767026"/>
                  <a:pt x="836661" y="769951"/>
                  <a:pt x="843974" y="772876"/>
                </a:cubicBezTo>
                <a:cubicBezTo>
                  <a:pt x="826424" y="796275"/>
                  <a:pt x="808875" y="821136"/>
                  <a:pt x="798638" y="835760"/>
                </a:cubicBezTo>
                <a:cubicBezTo>
                  <a:pt x="788400" y="850385"/>
                  <a:pt x="782552" y="854772"/>
                  <a:pt x="779627" y="857697"/>
                </a:cubicBezTo>
                <a:cubicBezTo>
                  <a:pt x="775240" y="860622"/>
                  <a:pt x="772315" y="863546"/>
                  <a:pt x="770852" y="865009"/>
                </a:cubicBezTo>
                <a:cubicBezTo>
                  <a:pt x="767927" y="866471"/>
                  <a:pt x="766465" y="867934"/>
                  <a:pt x="763539" y="869396"/>
                </a:cubicBezTo>
                <a:cubicBezTo>
                  <a:pt x="753303" y="873783"/>
                  <a:pt x="741604" y="875246"/>
                  <a:pt x="734292" y="863546"/>
                </a:cubicBezTo>
                <a:cubicBezTo>
                  <a:pt x="731367" y="859159"/>
                  <a:pt x="731367" y="854772"/>
                  <a:pt x="731367" y="848922"/>
                </a:cubicBezTo>
                <a:cubicBezTo>
                  <a:pt x="731367" y="845997"/>
                  <a:pt x="732829" y="840148"/>
                  <a:pt x="734292" y="834298"/>
                </a:cubicBezTo>
                <a:cubicBezTo>
                  <a:pt x="735754" y="828448"/>
                  <a:pt x="738678" y="821136"/>
                  <a:pt x="744529" y="810899"/>
                </a:cubicBezTo>
                <a:cubicBezTo>
                  <a:pt x="748916" y="800662"/>
                  <a:pt x="756228" y="788963"/>
                  <a:pt x="765003" y="775801"/>
                </a:cubicBezTo>
                <a:cubicBezTo>
                  <a:pt x="773777" y="762639"/>
                  <a:pt x="785477" y="748015"/>
                  <a:pt x="797176" y="734853"/>
                </a:cubicBezTo>
                <a:close/>
                <a:moveTo>
                  <a:pt x="1227129" y="679281"/>
                </a:moveTo>
                <a:cubicBezTo>
                  <a:pt x="1231516" y="677819"/>
                  <a:pt x="1234441" y="677819"/>
                  <a:pt x="1238828" y="679281"/>
                </a:cubicBezTo>
                <a:cubicBezTo>
                  <a:pt x="1244678" y="683668"/>
                  <a:pt x="1241753" y="690980"/>
                  <a:pt x="1241753" y="695368"/>
                </a:cubicBezTo>
                <a:cubicBezTo>
                  <a:pt x="1241753" y="696830"/>
                  <a:pt x="1240290" y="698293"/>
                  <a:pt x="1237366" y="702680"/>
                </a:cubicBezTo>
                <a:cubicBezTo>
                  <a:pt x="1234441" y="707067"/>
                  <a:pt x="1228591" y="715842"/>
                  <a:pt x="1224204" y="724616"/>
                </a:cubicBezTo>
                <a:lnTo>
                  <a:pt x="1165707" y="824061"/>
                </a:lnTo>
                <a:cubicBezTo>
                  <a:pt x="1161320" y="831373"/>
                  <a:pt x="1155470" y="838685"/>
                  <a:pt x="1151083" y="844535"/>
                </a:cubicBezTo>
                <a:cubicBezTo>
                  <a:pt x="1146695" y="850385"/>
                  <a:pt x="1143770" y="854772"/>
                  <a:pt x="1139383" y="857697"/>
                </a:cubicBezTo>
                <a:cubicBezTo>
                  <a:pt x="1136458" y="860622"/>
                  <a:pt x="1133533" y="863546"/>
                  <a:pt x="1130609" y="865009"/>
                </a:cubicBezTo>
                <a:cubicBezTo>
                  <a:pt x="1126221" y="867934"/>
                  <a:pt x="1123296" y="869396"/>
                  <a:pt x="1120372" y="870858"/>
                </a:cubicBezTo>
                <a:cubicBezTo>
                  <a:pt x="1115984" y="872321"/>
                  <a:pt x="1110135" y="870858"/>
                  <a:pt x="1105747" y="866471"/>
                </a:cubicBezTo>
                <a:cubicBezTo>
                  <a:pt x="1101360" y="860622"/>
                  <a:pt x="1101360" y="857697"/>
                  <a:pt x="1101360" y="851847"/>
                </a:cubicBezTo>
                <a:cubicBezTo>
                  <a:pt x="1101360" y="848922"/>
                  <a:pt x="1102823" y="845997"/>
                  <a:pt x="1102823" y="841610"/>
                </a:cubicBezTo>
                <a:cubicBezTo>
                  <a:pt x="1104285" y="837223"/>
                  <a:pt x="1105747" y="831373"/>
                  <a:pt x="1108672" y="825523"/>
                </a:cubicBezTo>
                <a:cubicBezTo>
                  <a:pt x="1111597" y="818211"/>
                  <a:pt x="1115984" y="810899"/>
                  <a:pt x="1121834" y="799200"/>
                </a:cubicBezTo>
                <a:cubicBezTo>
                  <a:pt x="1127684" y="788963"/>
                  <a:pt x="1136458" y="775801"/>
                  <a:pt x="1145233" y="762639"/>
                </a:cubicBezTo>
                <a:cubicBezTo>
                  <a:pt x="1155470" y="749477"/>
                  <a:pt x="1165707" y="734853"/>
                  <a:pt x="1175944" y="724616"/>
                </a:cubicBezTo>
                <a:cubicBezTo>
                  <a:pt x="1186181" y="712917"/>
                  <a:pt x="1194955" y="704142"/>
                  <a:pt x="1202266" y="696830"/>
                </a:cubicBezTo>
                <a:cubicBezTo>
                  <a:pt x="1209579" y="689518"/>
                  <a:pt x="1215429" y="686593"/>
                  <a:pt x="1218354" y="683668"/>
                </a:cubicBezTo>
                <a:cubicBezTo>
                  <a:pt x="1222741" y="680743"/>
                  <a:pt x="1225666" y="679281"/>
                  <a:pt x="1227129" y="679281"/>
                </a:cubicBezTo>
                <a:close/>
                <a:moveTo>
                  <a:pt x="851834" y="677453"/>
                </a:moveTo>
                <a:cubicBezTo>
                  <a:pt x="855672" y="677088"/>
                  <a:pt x="859329" y="677819"/>
                  <a:pt x="862985" y="680743"/>
                </a:cubicBezTo>
                <a:cubicBezTo>
                  <a:pt x="871760" y="689518"/>
                  <a:pt x="870297" y="698293"/>
                  <a:pt x="870297" y="707067"/>
                </a:cubicBezTo>
                <a:cubicBezTo>
                  <a:pt x="870297" y="709992"/>
                  <a:pt x="868835" y="714379"/>
                  <a:pt x="868835" y="717304"/>
                </a:cubicBezTo>
                <a:cubicBezTo>
                  <a:pt x="867372" y="720229"/>
                  <a:pt x="867372" y="724616"/>
                  <a:pt x="864447" y="730466"/>
                </a:cubicBezTo>
                <a:cubicBezTo>
                  <a:pt x="861523" y="736316"/>
                  <a:pt x="857135" y="745090"/>
                  <a:pt x="852748" y="753865"/>
                </a:cubicBezTo>
                <a:cubicBezTo>
                  <a:pt x="846898" y="752402"/>
                  <a:pt x="841049" y="749477"/>
                  <a:pt x="836661" y="748015"/>
                </a:cubicBezTo>
                <a:cubicBezTo>
                  <a:pt x="832274" y="745090"/>
                  <a:pt x="829349" y="743628"/>
                  <a:pt x="826424" y="742165"/>
                </a:cubicBezTo>
                <a:cubicBezTo>
                  <a:pt x="823500" y="740703"/>
                  <a:pt x="822037" y="739240"/>
                  <a:pt x="820575" y="736316"/>
                </a:cubicBezTo>
                <a:cubicBezTo>
                  <a:pt x="819112" y="734853"/>
                  <a:pt x="817650" y="733391"/>
                  <a:pt x="816187" y="731928"/>
                </a:cubicBezTo>
                <a:cubicBezTo>
                  <a:pt x="808875" y="718766"/>
                  <a:pt x="808875" y="704142"/>
                  <a:pt x="823500" y="690980"/>
                </a:cubicBezTo>
                <a:cubicBezTo>
                  <a:pt x="824962" y="689518"/>
                  <a:pt x="827887" y="686593"/>
                  <a:pt x="830812" y="685131"/>
                </a:cubicBezTo>
                <a:cubicBezTo>
                  <a:pt x="833737" y="683668"/>
                  <a:pt x="836661" y="682206"/>
                  <a:pt x="839586" y="680743"/>
                </a:cubicBezTo>
                <a:cubicBezTo>
                  <a:pt x="843973" y="679281"/>
                  <a:pt x="847995" y="677819"/>
                  <a:pt x="851834" y="677453"/>
                </a:cubicBezTo>
                <a:close/>
                <a:moveTo>
                  <a:pt x="1374833" y="650033"/>
                </a:moveTo>
                <a:lnTo>
                  <a:pt x="1347047" y="701217"/>
                </a:lnTo>
                <a:lnTo>
                  <a:pt x="1401157" y="701217"/>
                </a:lnTo>
                <a:lnTo>
                  <a:pt x="1430405" y="650033"/>
                </a:lnTo>
                <a:close/>
                <a:moveTo>
                  <a:pt x="1061875" y="647108"/>
                </a:moveTo>
                <a:cubicBezTo>
                  <a:pt x="1057487" y="647108"/>
                  <a:pt x="1053100" y="647108"/>
                  <a:pt x="1047250" y="648570"/>
                </a:cubicBezTo>
                <a:cubicBezTo>
                  <a:pt x="1041401" y="650033"/>
                  <a:pt x="1037012" y="651495"/>
                  <a:pt x="1029701" y="654420"/>
                </a:cubicBezTo>
                <a:cubicBezTo>
                  <a:pt x="1023852" y="657345"/>
                  <a:pt x="1016540" y="660270"/>
                  <a:pt x="1003378" y="670507"/>
                </a:cubicBezTo>
                <a:cubicBezTo>
                  <a:pt x="990216" y="680743"/>
                  <a:pt x="971204" y="698293"/>
                  <a:pt x="956580" y="711454"/>
                </a:cubicBezTo>
                <a:cubicBezTo>
                  <a:pt x="941956" y="724616"/>
                  <a:pt x="930257" y="731928"/>
                  <a:pt x="921482" y="737778"/>
                </a:cubicBezTo>
                <a:cubicBezTo>
                  <a:pt x="912707" y="743628"/>
                  <a:pt x="903933" y="748015"/>
                  <a:pt x="896621" y="750940"/>
                </a:cubicBezTo>
                <a:cubicBezTo>
                  <a:pt x="889309" y="753865"/>
                  <a:pt x="881997" y="756790"/>
                  <a:pt x="874684" y="758252"/>
                </a:cubicBezTo>
                <a:cubicBezTo>
                  <a:pt x="879072" y="748015"/>
                  <a:pt x="883459" y="737778"/>
                  <a:pt x="886384" y="729003"/>
                </a:cubicBezTo>
                <a:cubicBezTo>
                  <a:pt x="889309" y="720229"/>
                  <a:pt x="892233" y="712917"/>
                  <a:pt x="893696" y="707067"/>
                </a:cubicBezTo>
                <a:cubicBezTo>
                  <a:pt x="895158" y="701217"/>
                  <a:pt x="895158" y="698293"/>
                  <a:pt x="896621" y="693905"/>
                </a:cubicBezTo>
                <a:cubicBezTo>
                  <a:pt x="896621" y="686593"/>
                  <a:pt x="896621" y="677819"/>
                  <a:pt x="893696" y="671969"/>
                </a:cubicBezTo>
                <a:cubicBezTo>
                  <a:pt x="892233" y="669044"/>
                  <a:pt x="890771" y="666119"/>
                  <a:pt x="889309" y="664657"/>
                </a:cubicBezTo>
                <a:cubicBezTo>
                  <a:pt x="884921" y="658807"/>
                  <a:pt x="881997" y="655882"/>
                  <a:pt x="876147" y="654420"/>
                </a:cubicBezTo>
                <a:cubicBezTo>
                  <a:pt x="864447" y="648570"/>
                  <a:pt x="854210" y="650033"/>
                  <a:pt x="841049" y="652957"/>
                </a:cubicBezTo>
                <a:cubicBezTo>
                  <a:pt x="833737" y="654420"/>
                  <a:pt x="826424" y="657345"/>
                  <a:pt x="819112" y="661732"/>
                </a:cubicBezTo>
                <a:cubicBezTo>
                  <a:pt x="810338" y="666119"/>
                  <a:pt x="801563" y="671969"/>
                  <a:pt x="789864" y="679281"/>
                </a:cubicBezTo>
                <a:cubicBezTo>
                  <a:pt x="779627" y="686593"/>
                  <a:pt x="767927" y="696830"/>
                  <a:pt x="756228" y="707067"/>
                </a:cubicBezTo>
                <a:cubicBezTo>
                  <a:pt x="744529" y="718766"/>
                  <a:pt x="732829" y="730466"/>
                  <a:pt x="722592" y="743628"/>
                </a:cubicBezTo>
                <a:cubicBezTo>
                  <a:pt x="702118" y="769951"/>
                  <a:pt x="686032" y="796275"/>
                  <a:pt x="677257" y="818211"/>
                </a:cubicBezTo>
                <a:cubicBezTo>
                  <a:pt x="672870" y="829911"/>
                  <a:pt x="669945" y="838685"/>
                  <a:pt x="667020" y="848922"/>
                </a:cubicBezTo>
                <a:cubicBezTo>
                  <a:pt x="661171" y="856234"/>
                  <a:pt x="659708" y="865009"/>
                  <a:pt x="659708" y="870858"/>
                </a:cubicBezTo>
                <a:cubicBezTo>
                  <a:pt x="659708" y="878171"/>
                  <a:pt x="659708" y="882558"/>
                  <a:pt x="659708" y="886945"/>
                </a:cubicBezTo>
                <a:cubicBezTo>
                  <a:pt x="659708" y="891332"/>
                  <a:pt x="661171" y="895720"/>
                  <a:pt x="662633" y="898645"/>
                </a:cubicBezTo>
                <a:cubicBezTo>
                  <a:pt x="664095" y="903032"/>
                  <a:pt x="665558" y="905957"/>
                  <a:pt x="667020" y="908882"/>
                </a:cubicBezTo>
                <a:cubicBezTo>
                  <a:pt x="668482" y="911806"/>
                  <a:pt x="671407" y="914731"/>
                  <a:pt x="674332" y="916194"/>
                </a:cubicBezTo>
                <a:cubicBezTo>
                  <a:pt x="677257" y="917656"/>
                  <a:pt x="680182" y="920581"/>
                  <a:pt x="684569" y="920581"/>
                </a:cubicBezTo>
                <a:cubicBezTo>
                  <a:pt x="688956" y="922043"/>
                  <a:pt x="693344" y="922043"/>
                  <a:pt x="697731" y="922043"/>
                </a:cubicBezTo>
                <a:cubicBezTo>
                  <a:pt x="702118" y="922043"/>
                  <a:pt x="707968" y="920581"/>
                  <a:pt x="713817" y="920581"/>
                </a:cubicBezTo>
                <a:cubicBezTo>
                  <a:pt x="719667" y="919118"/>
                  <a:pt x="725517" y="917656"/>
                  <a:pt x="731367" y="914731"/>
                </a:cubicBezTo>
                <a:cubicBezTo>
                  <a:pt x="737217" y="911806"/>
                  <a:pt x="744529" y="907419"/>
                  <a:pt x="751841" y="903032"/>
                </a:cubicBezTo>
                <a:cubicBezTo>
                  <a:pt x="759153" y="897182"/>
                  <a:pt x="767927" y="889870"/>
                  <a:pt x="778164" y="881095"/>
                </a:cubicBezTo>
                <a:cubicBezTo>
                  <a:pt x="788400" y="870858"/>
                  <a:pt x="798638" y="859159"/>
                  <a:pt x="813263" y="840148"/>
                </a:cubicBezTo>
                <a:cubicBezTo>
                  <a:pt x="827887" y="822599"/>
                  <a:pt x="843974" y="797737"/>
                  <a:pt x="860060" y="772876"/>
                </a:cubicBezTo>
                <a:lnTo>
                  <a:pt x="899546" y="764102"/>
                </a:lnTo>
                <a:cubicBezTo>
                  <a:pt x="887846" y="786038"/>
                  <a:pt x="877609" y="806512"/>
                  <a:pt x="870297" y="821136"/>
                </a:cubicBezTo>
                <a:cubicBezTo>
                  <a:pt x="864447" y="835760"/>
                  <a:pt x="861523" y="841610"/>
                  <a:pt x="861523" y="847460"/>
                </a:cubicBezTo>
                <a:cubicBezTo>
                  <a:pt x="857135" y="867934"/>
                  <a:pt x="855673" y="888408"/>
                  <a:pt x="864447" y="904494"/>
                </a:cubicBezTo>
                <a:cubicBezTo>
                  <a:pt x="867372" y="908882"/>
                  <a:pt x="870297" y="913269"/>
                  <a:pt x="874684" y="917656"/>
                </a:cubicBezTo>
                <a:cubicBezTo>
                  <a:pt x="879072" y="920581"/>
                  <a:pt x="884921" y="923506"/>
                  <a:pt x="890771" y="926431"/>
                </a:cubicBezTo>
                <a:cubicBezTo>
                  <a:pt x="896621" y="927893"/>
                  <a:pt x="903933" y="929355"/>
                  <a:pt x="911245" y="929355"/>
                </a:cubicBezTo>
                <a:cubicBezTo>
                  <a:pt x="928794" y="929355"/>
                  <a:pt x="944881" y="924968"/>
                  <a:pt x="966817" y="911806"/>
                </a:cubicBezTo>
                <a:cubicBezTo>
                  <a:pt x="974129" y="907419"/>
                  <a:pt x="982904" y="901569"/>
                  <a:pt x="993141" y="891332"/>
                </a:cubicBezTo>
                <a:cubicBezTo>
                  <a:pt x="1004840" y="881095"/>
                  <a:pt x="1018002" y="867934"/>
                  <a:pt x="1032626" y="851847"/>
                </a:cubicBezTo>
                <a:cubicBezTo>
                  <a:pt x="1031164" y="865009"/>
                  <a:pt x="1031164" y="878171"/>
                  <a:pt x="1031164" y="885483"/>
                </a:cubicBezTo>
                <a:cubicBezTo>
                  <a:pt x="1031164" y="894257"/>
                  <a:pt x="1031164" y="897182"/>
                  <a:pt x="1032626" y="900107"/>
                </a:cubicBezTo>
                <a:cubicBezTo>
                  <a:pt x="1032626" y="903032"/>
                  <a:pt x="1034089" y="905957"/>
                  <a:pt x="1034089" y="907419"/>
                </a:cubicBezTo>
                <a:cubicBezTo>
                  <a:pt x="1035551" y="908882"/>
                  <a:pt x="1035551" y="910344"/>
                  <a:pt x="1037012" y="911806"/>
                </a:cubicBezTo>
                <a:cubicBezTo>
                  <a:pt x="1039938" y="917656"/>
                  <a:pt x="1044326" y="919118"/>
                  <a:pt x="1048713" y="920581"/>
                </a:cubicBezTo>
                <a:cubicBezTo>
                  <a:pt x="1063337" y="924968"/>
                  <a:pt x="1075036" y="922043"/>
                  <a:pt x="1089661" y="916194"/>
                </a:cubicBezTo>
                <a:cubicBezTo>
                  <a:pt x="1095510" y="913269"/>
                  <a:pt x="1101360" y="910344"/>
                  <a:pt x="1108672" y="904494"/>
                </a:cubicBezTo>
                <a:cubicBezTo>
                  <a:pt x="1115984" y="898645"/>
                  <a:pt x="1126221" y="891332"/>
                  <a:pt x="1134996" y="882558"/>
                </a:cubicBezTo>
                <a:cubicBezTo>
                  <a:pt x="1134996" y="888408"/>
                  <a:pt x="1133533" y="892795"/>
                  <a:pt x="1134996" y="897182"/>
                </a:cubicBezTo>
                <a:cubicBezTo>
                  <a:pt x="1134996" y="901569"/>
                  <a:pt x="1134996" y="903032"/>
                  <a:pt x="1136458" y="905957"/>
                </a:cubicBezTo>
                <a:cubicBezTo>
                  <a:pt x="1136458" y="908882"/>
                  <a:pt x="1137921" y="911806"/>
                  <a:pt x="1139383" y="914731"/>
                </a:cubicBezTo>
                <a:cubicBezTo>
                  <a:pt x="1143770" y="920581"/>
                  <a:pt x="1149620" y="922043"/>
                  <a:pt x="1156932" y="923506"/>
                </a:cubicBezTo>
                <a:cubicBezTo>
                  <a:pt x="1159857" y="923506"/>
                  <a:pt x="1162782" y="923506"/>
                  <a:pt x="1167169" y="923506"/>
                </a:cubicBezTo>
                <a:cubicBezTo>
                  <a:pt x="1180331" y="923506"/>
                  <a:pt x="1194955" y="919118"/>
                  <a:pt x="1211042" y="907419"/>
                </a:cubicBezTo>
                <a:cubicBezTo>
                  <a:pt x="1219816" y="901569"/>
                  <a:pt x="1228591" y="894257"/>
                  <a:pt x="1238828" y="884020"/>
                </a:cubicBezTo>
                <a:cubicBezTo>
                  <a:pt x="1249065" y="873783"/>
                  <a:pt x="1260764" y="860622"/>
                  <a:pt x="1272464" y="844535"/>
                </a:cubicBezTo>
                <a:cubicBezTo>
                  <a:pt x="1284163" y="828448"/>
                  <a:pt x="1295863" y="809437"/>
                  <a:pt x="1307562" y="788963"/>
                </a:cubicBezTo>
                <a:lnTo>
                  <a:pt x="1297325" y="786038"/>
                </a:lnTo>
                <a:cubicBezTo>
                  <a:pt x="1281238" y="807974"/>
                  <a:pt x="1266614" y="825523"/>
                  <a:pt x="1256377" y="837223"/>
                </a:cubicBezTo>
                <a:cubicBezTo>
                  <a:pt x="1246140" y="848922"/>
                  <a:pt x="1241753" y="853309"/>
                  <a:pt x="1238828" y="856234"/>
                </a:cubicBezTo>
                <a:cubicBezTo>
                  <a:pt x="1235903" y="859159"/>
                  <a:pt x="1232977" y="860622"/>
                  <a:pt x="1231516" y="862084"/>
                </a:cubicBezTo>
                <a:cubicBezTo>
                  <a:pt x="1227129" y="865009"/>
                  <a:pt x="1222741" y="866471"/>
                  <a:pt x="1219816" y="865009"/>
                </a:cubicBezTo>
                <a:cubicBezTo>
                  <a:pt x="1216892" y="865009"/>
                  <a:pt x="1213967" y="862084"/>
                  <a:pt x="1213967" y="859159"/>
                </a:cubicBezTo>
                <a:cubicBezTo>
                  <a:pt x="1213967" y="857697"/>
                  <a:pt x="1213967" y="857697"/>
                  <a:pt x="1215429" y="851847"/>
                </a:cubicBezTo>
                <a:cubicBezTo>
                  <a:pt x="1216892" y="848922"/>
                  <a:pt x="1218354" y="844535"/>
                  <a:pt x="1224204" y="834298"/>
                </a:cubicBezTo>
                <a:cubicBezTo>
                  <a:pt x="1230052" y="822599"/>
                  <a:pt x="1238828" y="806512"/>
                  <a:pt x="1247602" y="788963"/>
                </a:cubicBezTo>
                <a:lnTo>
                  <a:pt x="1329498" y="650033"/>
                </a:lnTo>
                <a:lnTo>
                  <a:pt x="1278313" y="650033"/>
                </a:lnTo>
                <a:lnTo>
                  <a:pt x="1268076" y="661732"/>
                </a:lnTo>
                <a:cubicBezTo>
                  <a:pt x="1260764" y="657345"/>
                  <a:pt x="1253452" y="654420"/>
                  <a:pt x="1249065" y="651495"/>
                </a:cubicBezTo>
                <a:cubicBezTo>
                  <a:pt x="1244678" y="648570"/>
                  <a:pt x="1240290" y="648570"/>
                  <a:pt x="1237366" y="648570"/>
                </a:cubicBezTo>
                <a:cubicBezTo>
                  <a:pt x="1234441" y="648570"/>
                  <a:pt x="1230052" y="647108"/>
                  <a:pt x="1227129" y="647108"/>
                </a:cubicBezTo>
                <a:cubicBezTo>
                  <a:pt x="1215429" y="647108"/>
                  <a:pt x="1202266" y="650033"/>
                  <a:pt x="1187643" y="658807"/>
                </a:cubicBezTo>
                <a:cubicBezTo>
                  <a:pt x="1181793" y="661732"/>
                  <a:pt x="1175944" y="666119"/>
                  <a:pt x="1167169" y="673431"/>
                </a:cubicBezTo>
                <a:cubicBezTo>
                  <a:pt x="1159857" y="679281"/>
                  <a:pt x="1149620" y="688056"/>
                  <a:pt x="1130609" y="708530"/>
                </a:cubicBezTo>
                <a:cubicBezTo>
                  <a:pt x="1113060" y="729003"/>
                  <a:pt x="1085273" y="761177"/>
                  <a:pt x="1063337" y="787500"/>
                </a:cubicBezTo>
                <a:cubicBezTo>
                  <a:pt x="1041401" y="813824"/>
                  <a:pt x="1023852" y="834298"/>
                  <a:pt x="1010690" y="847460"/>
                </a:cubicBezTo>
                <a:cubicBezTo>
                  <a:pt x="997528" y="860622"/>
                  <a:pt x="990216" y="866471"/>
                  <a:pt x="984365" y="870858"/>
                </a:cubicBezTo>
                <a:cubicBezTo>
                  <a:pt x="978517" y="875246"/>
                  <a:pt x="974129" y="878171"/>
                  <a:pt x="969742" y="879633"/>
                </a:cubicBezTo>
                <a:cubicBezTo>
                  <a:pt x="968280" y="884020"/>
                  <a:pt x="963892" y="885483"/>
                  <a:pt x="960967" y="885483"/>
                </a:cubicBezTo>
                <a:cubicBezTo>
                  <a:pt x="952193" y="886945"/>
                  <a:pt x="943418" y="886945"/>
                  <a:pt x="936106" y="882558"/>
                </a:cubicBezTo>
                <a:cubicBezTo>
                  <a:pt x="931719" y="879633"/>
                  <a:pt x="931719" y="876708"/>
                  <a:pt x="930257" y="872321"/>
                </a:cubicBezTo>
                <a:cubicBezTo>
                  <a:pt x="928794" y="862084"/>
                  <a:pt x="930257" y="854772"/>
                  <a:pt x="931719" y="844535"/>
                </a:cubicBezTo>
                <a:cubicBezTo>
                  <a:pt x="933181" y="838685"/>
                  <a:pt x="934643" y="832835"/>
                  <a:pt x="937569" y="825523"/>
                </a:cubicBezTo>
                <a:cubicBezTo>
                  <a:pt x="940493" y="818211"/>
                  <a:pt x="943418" y="809437"/>
                  <a:pt x="949268" y="800662"/>
                </a:cubicBezTo>
                <a:cubicBezTo>
                  <a:pt x="953655" y="790425"/>
                  <a:pt x="960967" y="780188"/>
                  <a:pt x="968280" y="768489"/>
                </a:cubicBezTo>
                <a:cubicBezTo>
                  <a:pt x="984365" y="745090"/>
                  <a:pt x="1006303" y="718766"/>
                  <a:pt x="1023852" y="702680"/>
                </a:cubicBezTo>
                <a:cubicBezTo>
                  <a:pt x="1032626" y="693905"/>
                  <a:pt x="1039938" y="688056"/>
                  <a:pt x="1045788" y="685131"/>
                </a:cubicBezTo>
                <a:cubicBezTo>
                  <a:pt x="1051638" y="680743"/>
                  <a:pt x="1054562" y="679281"/>
                  <a:pt x="1057487" y="677819"/>
                </a:cubicBezTo>
                <a:cubicBezTo>
                  <a:pt x="1060412" y="676356"/>
                  <a:pt x="1061875" y="676356"/>
                  <a:pt x="1064799" y="676356"/>
                </a:cubicBezTo>
                <a:cubicBezTo>
                  <a:pt x="1067724" y="676356"/>
                  <a:pt x="1070649" y="676356"/>
                  <a:pt x="1072112" y="679281"/>
                </a:cubicBezTo>
                <a:cubicBezTo>
                  <a:pt x="1075036" y="682206"/>
                  <a:pt x="1075036" y="683668"/>
                  <a:pt x="1076499" y="688056"/>
                </a:cubicBezTo>
                <a:cubicBezTo>
                  <a:pt x="1076499" y="689518"/>
                  <a:pt x="1076499" y="692443"/>
                  <a:pt x="1076499" y="695368"/>
                </a:cubicBezTo>
                <a:cubicBezTo>
                  <a:pt x="1072112" y="696830"/>
                  <a:pt x="1066262" y="696830"/>
                  <a:pt x="1063337" y="698293"/>
                </a:cubicBezTo>
                <a:cubicBezTo>
                  <a:pt x="1058950" y="699755"/>
                  <a:pt x="1056025" y="701217"/>
                  <a:pt x="1054562" y="702680"/>
                </a:cubicBezTo>
                <a:cubicBezTo>
                  <a:pt x="1051638" y="704142"/>
                  <a:pt x="1050175" y="705605"/>
                  <a:pt x="1048713" y="707067"/>
                </a:cubicBezTo>
                <a:cubicBezTo>
                  <a:pt x="1037012" y="715842"/>
                  <a:pt x="1035551" y="727541"/>
                  <a:pt x="1035551" y="734853"/>
                </a:cubicBezTo>
                <a:cubicBezTo>
                  <a:pt x="1035551" y="737778"/>
                  <a:pt x="1038476" y="742165"/>
                  <a:pt x="1041401" y="745090"/>
                </a:cubicBezTo>
                <a:cubicBezTo>
                  <a:pt x="1050175" y="752402"/>
                  <a:pt x="1061875" y="748015"/>
                  <a:pt x="1075036" y="733391"/>
                </a:cubicBezTo>
                <a:cubicBezTo>
                  <a:pt x="1076499" y="730466"/>
                  <a:pt x="1079424" y="727541"/>
                  <a:pt x="1080886" y="724616"/>
                </a:cubicBezTo>
                <a:cubicBezTo>
                  <a:pt x="1088198" y="714379"/>
                  <a:pt x="1091123" y="704142"/>
                  <a:pt x="1094048" y="695368"/>
                </a:cubicBezTo>
                <a:cubicBezTo>
                  <a:pt x="1096973" y="682206"/>
                  <a:pt x="1096973" y="666119"/>
                  <a:pt x="1080886" y="652957"/>
                </a:cubicBezTo>
                <a:cubicBezTo>
                  <a:pt x="1075036" y="648570"/>
                  <a:pt x="1069187" y="647108"/>
                  <a:pt x="1061875" y="647108"/>
                </a:cubicBezTo>
                <a:close/>
                <a:moveTo>
                  <a:pt x="1771150" y="552050"/>
                </a:moveTo>
                <a:cubicBezTo>
                  <a:pt x="1769688" y="562287"/>
                  <a:pt x="1768225" y="572524"/>
                  <a:pt x="1765301" y="584224"/>
                </a:cubicBezTo>
                <a:cubicBezTo>
                  <a:pt x="1762376" y="595923"/>
                  <a:pt x="1757988" y="610547"/>
                  <a:pt x="1752139" y="622247"/>
                </a:cubicBezTo>
                <a:cubicBezTo>
                  <a:pt x="1746289" y="635408"/>
                  <a:pt x="1740439" y="647108"/>
                  <a:pt x="1736052" y="657345"/>
                </a:cubicBezTo>
                <a:cubicBezTo>
                  <a:pt x="1730202" y="667582"/>
                  <a:pt x="1725815" y="674894"/>
                  <a:pt x="1719965" y="682206"/>
                </a:cubicBezTo>
                <a:cubicBezTo>
                  <a:pt x="1706804" y="698293"/>
                  <a:pt x="1696567" y="707067"/>
                  <a:pt x="1684867" y="712917"/>
                </a:cubicBezTo>
                <a:cubicBezTo>
                  <a:pt x="1673168" y="717304"/>
                  <a:pt x="1662931" y="718766"/>
                  <a:pt x="1652694" y="712917"/>
                </a:cubicBezTo>
                <a:cubicBezTo>
                  <a:pt x="1649768" y="711454"/>
                  <a:pt x="1646843" y="707067"/>
                  <a:pt x="1646843" y="704142"/>
                </a:cubicBezTo>
                <a:cubicBezTo>
                  <a:pt x="1645382" y="692443"/>
                  <a:pt x="1648307" y="682206"/>
                  <a:pt x="1652694" y="670507"/>
                </a:cubicBezTo>
                <a:cubicBezTo>
                  <a:pt x="1654156" y="664657"/>
                  <a:pt x="1657081" y="660270"/>
                  <a:pt x="1661468" y="652957"/>
                </a:cubicBezTo>
                <a:cubicBezTo>
                  <a:pt x="1664393" y="647108"/>
                  <a:pt x="1670243" y="639796"/>
                  <a:pt x="1676093" y="632484"/>
                </a:cubicBezTo>
                <a:cubicBezTo>
                  <a:pt x="1681942" y="625171"/>
                  <a:pt x="1689255" y="616397"/>
                  <a:pt x="1699491" y="607622"/>
                </a:cubicBezTo>
                <a:cubicBezTo>
                  <a:pt x="1709728" y="598848"/>
                  <a:pt x="1721428" y="588611"/>
                  <a:pt x="1733127" y="578374"/>
                </a:cubicBezTo>
                <a:cubicBezTo>
                  <a:pt x="1744826" y="568137"/>
                  <a:pt x="1757988" y="559362"/>
                  <a:pt x="1771150" y="552050"/>
                </a:cubicBezTo>
                <a:close/>
                <a:moveTo>
                  <a:pt x="2182091" y="509640"/>
                </a:moveTo>
                <a:cubicBezTo>
                  <a:pt x="2171854" y="506715"/>
                  <a:pt x="2163079" y="508178"/>
                  <a:pt x="2151380" y="511102"/>
                </a:cubicBezTo>
                <a:cubicBezTo>
                  <a:pt x="2142606" y="514027"/>
                  <a:pt x="2133831" y="516952"/>
                  <a:pt x="2122132" y="522802"/>
                </a:cubicBezTo>
                <a:cubicBezTo>
                  <a:pt x="2110433" y="528651"/>
                  <a:pt x="2098733" y="537426"/>
                  <a:pt x="2082645" y="549125"/>
                </a:cubicBezTo>
                <a:cubicBezTo>
                  <a:pt x="2066560" y="560825"/>
                  <a:pt x="2049011" y="578374"/>
                  <a:pt x="2028537" y="600310"/>
                </a:cubicBezTo>
                <a:cubicBezTo>
                  <a:pt x="2008063" y="622247"/>
                  <a:pt x="1984664" y="648570"/>
                  <a:pt x="1961265" y="680743"/>
                </a:cubicBezTo>
                <a:cubicBezTo>
                  <a:pt x="1937867" y="711454"/>
                  <a:pt x="1913005" y="748015"/>
                  <a:pt x="1889607" y="784576"/>
                </a:cubicBezTo>
                <a:cubicBezTo>
                  <a:pt x="1867669" y="821136"/>
                  <a:pt x="1847196" y="859159"/>
                  <a:pt x="1828185" y="897182"/>
                </a:cubicBezTo>
                <a:lnTo>
                  <a:pt x="1801861" y="897182"/>
                </a:lnTo>
                <a:cubicBezTo>
                  <a:pt x="1806248" y="886945"/>
                  <a:pt x="1812098" y="875246"/>
                  <a:pt x="1815023" y="867934"/>
                </a:cubicBezTo>
                <a:cubicBezTo>
                  <a:pt x="1817948" y="860622"/>
                  <a:pt x="1819410" y="854772"/>
                  <a:pt x="1820873" y="850385"/>
                </a:cubicBezTo>
                <a:cubicBezTo>
                  <a:pt x="1823798" y="837223"/>
                  <a:pt x="1823798" y="822599"/>
                  <a:pt x="1819410" y="810899"/>
                </a:cubicBezTo>
                <a:cubicBezTo>
                  <a:pt x="1817948" y="807974"/>
                  <a:pt x="1816485" y="803587"/>
                  <a:pt x="1813561" y="802125"/>
                </a:cubicBezTo>
                <a:cubicBezTo>
                  <a:pt x="1804786" y="791888"/>
                  <a:pt x="1797474" y="790425"/>
                  <a:pt x="1787237" y="790425"/>
                </a:cubicBezTo>
                <a:cubicBezTo>
                  <a:pt x="1782850" y="790425"/>
                  <a:pt x="1778462" y="790425"/>
                  <a:pt x="1772613" y="793350"/>
                </a:cubicBezTo>
                <a:cubicBezTo>
                  <a:pt x="1766763" y="794812"/>
                  <a:pt x="1760913" y="796275"/>
                  <a:pt x="1752139" y="800662"/>
                </a:cubicBezTo>
                <a:cubicBezTo>
                  <a:pt x="1744826" y="803587"/>
                  <a:pt x="1736052" y="809437"/>
                  <a:pt x="1727278" y="815286"/>
                </a:cubicBezTo>
                <a:cubicBezTo>
                  <a:pt x="1717040" y="822599"/>
                  <a:pt x="1706804" y="829911"/>
                  <a:pt x="1696567" y="841610"/>
                </a:cubicBezTo>
                <a:cubicBezTo>
                  <a:pt x="1684867" y="851847"/>
                  <a:pt x="1673168" y="865009"/>
                  <a:pt x="1662931" y="878171"/>
                </a:cubicBezTo>
                <a:cubicBezTo>
                  <a:pt x="1639532" y="905957"/>
                  <a:pt x="1621983" y="936668"/>
                  <a:pt x="1611746" y="960066"/>
                </a:cubicBezTo>
                <a:cubicBezTo>
                  <a:pt x="1605896" y="971766"/>
                  <a:pt x="1602972" y="982003"/>
                  <a:pt x="1600047" y="992240"/>
                </a:cubicBezTo>
                <a:cubicBezTo>
                  <a:pt x="1597122" y="1001014"/>
                  <a:pt x="1595659" y="1009789"/>
                  <a:pt x="1595659" y="1017101"/>
                </a:cubicBezTo>
                <a:cubicBezTo>
                  <a:pt x="1595659" y="1024413"/>
                  <a:pt x="1595659" y="1030263"/>
                  <a:pt x="1595659" y="1034650"/>
                </a:cubicBezTo>
                <a:cubicBezTo>
                  <a:pt x="1597122" y="1040500"/>
                  <a:pt x="1598584" y="1044887"/>
                  <a:pt x="1600047" y="1049274"/>
                </a:cubicBezTo>
                <a:cubicBezTo>
                  <a:pt x="1601509" y="1053661"/>
                  <a:pt x="1604434" y="1056586"/>
                  <a:pt x="1608821" y="1059511"/>
                </a:cubicBezTo>
                <a:cubicBezTo>
                  <a:pt x="1611746" y="1062436"/>
                  <a:pt x="1616132" y="1065361"/>
                  <a:pt x="1620521" y="1066823"/>
                </a:cubicBezTo>
                <a:cubicBezTo>
                  <a:pt x="1624908" y="1068286"/>
                  <a:pt x="1629295" y="1069748"/>
                  <a:pt x="1635145" y="1069748"/>
                </a:cubicBezTo>
                <a:cubicBezTo>
                  <a:pt x="1645382" y="1069748"/>
                  <a:pt x="1655619" y="1066823"/>
                  <a:pt x="1667318" y="1060974"/>
                </a:cubicBezTo>
                <a:cubicBezTo>
                  <a:pt x="1673168" y="1058049"/>
                  <a:pt x="1680480" y="1053661"/>
                  <a:pt x="1689255" y="1047812"/>
                </a:cubicBezTo>
                <a:cubicBezTo>
                  <a:pt x="1698029" y="1041962"/>
                  <a:pt x="1706804" y="1033187"/>
                  <a:pt x="1717040" y="1022951"/>
                </a:cubicBezTo>
                <a:cubicBezTo>
                  <a:pt x="1727278" y="1012714"/>
                  <a:pt x="1738977" y="998089"/>
                  <a:pt x="1752139" y="980540"/>
                </a:cubicBezTo>
                <a:cubicBezTo>
                  <a:pt x="1765301" y="962991"/>
                  <a:pt x="1781387" y="941055"/>
                  <a:pt x="1794549" y="917656"/>
                </a:cubicBezTo>
                <a:lnTo>
                  <a:pt x="1820873" y="917656"/>
                </a:lnTo>
                <a:cubicBezTo>
                  <a:pt x="1812098" y="939592"/>
                  <a:pt x="1804786" y="962991"/>
                  <a:pt x="1798936" y="977615"/>
                </a:cubicBezTo>
                <a:cubicBezTo>
                  <a:pt x="1794549" y="992240"/>
                  <a:pt x="1793087" y="998089"/>
                  <a:pt x="1791624" y="1003939"/>
                </a:cubicBezTo>
                <a:cubicBezTo>
                  <a:pt x="1790162" y="1015638"/>
                  <a:pt x="1788699" y="1025875"/>
                  <a:pt x="1788699" y="1034650"/>
                </a:cubicBezTo>
                <a:cubicBezTo>
                  <a:pt x="1788699" y="1039037"/>
                  <a:pt x="1790162" y="1043424"/>
                  <a:pt x="1791624" y="1046349"/>
                </a:cubicBezTo>
                <a:cubicBezTo>
                  <a:pt x="1793087" y="1049274"/>
                  <a:pt x="1794549" y="1053661"/>
                  <a:pt x="1796011" y="1056586"/>
                </a:cubicBezTo>
                <a:cubicBezTo>
                  <a:pt x="1797474" y="1059511"/>
                  <a:pt x="1800399" y="1062436"/>
                  <a:pt x="1803324" y="1063898"/>
                </a:cubicBezTo>
                <a:cubicBezTo>
                  <a:pt x="1806248" y="1065361"/>
                  <a:pt x="1809173" y="1068286"/>
                  <a:pt x="1813561" y="1068286"/>
                </a:cubicBezTo>
                <a:cubicBezTo>
                  <a:pt x="1816485" y="1069748"/>
                  <a:pt x="1820873" y="1069748"/>
                  <a:pt x="1825260" y="1069748"/>
                </a:cubicBezTo>
                <a:cubicBezTo>
                  <a:pt x="1839884" y="1069748"/>
                  <a:pt x="1853046" y="1065361"/>
                  <a:pt x="1870594" y="1053661"/>
                </a:cubicBezTo>
                <a:cubicBezTo>
                  <a:pt x="1876445" y="1049274"/>
                  <a:pt x="1883757" y="1043424"/>
                  <a:pt x="1892530" y="1034650"/>
                </a:cubicBezTo>
                <a:cubicBezTo>
                  <a:pt x="1901306" y="1025875"/>
                  <a:pt x="1911543" y="1015638"/>
                  <a:pt x="1921780" y="1003939"/>
                </a:cubicBezTo>
                <a:cubicBezTo>
                  <a:pt x="1921780" y="1011251"/>
                  <a:pt x="1920316" y="1018563"/>
                  <a:pt x="1920316" y="1024413"/>
                </a:cubicBezTo>
                <a:cubicBezTo>
                  <a:pt x="1920316" y="1030263"/>
                  <a:pt x="1920316" y="1034650"/>
                  <a:pt x="1921780" y="1039037"/>
                </a:cubicBezTo>
                <a:cubicBezTo>
                  <a:pt x="1921780" y="1043424"/>
                  <a:pt x="1923242" y="1046349"/>
                  <a:pt x="1924705" y="1047812"/>
                </a:cubicBezTo>
                <a:cubicBezTo>
                  <a:pt x="1926167" y="1050737"/>
                  <a:pt x="1926167" y="1052199"/>
                  <a:pt x="1927630" y="1055124"/>
                </a:cubicBezTo>
                <a:cubicBezTo>
                  <a:pt x="1930554" y="1059511"/>
                  <a:pt x="1932017" y="1060974"/>
                  <a:pt x="1934942" y="1063898"/>
                </a:cubicBezTo>
                <a:cubicBezTo>
                  <a:pt x="1940791" y="1066823"/>
                  <a:pt x="1945179" y="1068286"/>
                  <a:pt x="1951028" y="1068286"/>
                </a:cubicBezTo>
                <a:cubicBezTo>
                  <a:pt x="1953953" y="1068286"/>
                  <a:pt x="1956878" y="1068286"/>
                  <a:pt x="1961265" y="1066823"/>
                </a:cubicBezTo>
                <a:cubicBezTo>
                  <a:pt x="1968577" y="1065361"/>
                  <a:pt x="1975890" y="1062436"/>
                  <a:pt x="1984664" y="1058049"/>
                </a:cubicBezTo>
                <a:cubicBezTo>
                  <a:pt x="1989051" y="1055124"/>
                  <a:pt x="1994901" y="1052199"/>
                  <a:pt x="2000751" y="1044887"/>
                </a:cubicBezTo>
                <a:cubicBezTo>
                  <a:pt x="2008063" y="1039037"/>
                  <a:pt x="2016837" y="1030263"/>
                  <a:pt x="2025612" y="1021488"/>
                </a:cubicBezTo>
                <a:cubicBezTo>
                  <a:pt x="2025612" y="1027338"/>
                  <a:pt x="2024150" y="1034650"/>
                  <a:pt x="2024150" y="1039037"/>
                </a:cubicBezTo>
                <a:cubicBezTo>
                  <a:pt x="2024150" y="1043424"/>
                  <a:pt x="2024150" y="1047812"/>
                  <a:pt x="2025612" y="1049274"/>
                </a:cubicBezTo>
                <a:cubicBezTo>
                  <a:pt x="2025612" y="1052199"/>
                  <a:pt x="2027074" y="1053661"/>
                  <a:pt x="2027074" y="1056586"/>
                </a:cubicBezTo>
                <a:cubicBezTo>
                  <a:pt x="2028537" y="1062436"/>
                  <a:pt x="2034387" y="1068286"/>
                  <a:pt x="2038774" y="1068286"/>
                </a:cubicBezTo>
                <a:cubicBezTo>
                  <a:pt x="2053398" y="1072673"/>
                  <a:pt x="2065097" y="1068286"/>
                  <a:pt x="2081184" y="1060974"/>
                </a:cubicBezTo>
                <a:cubicBezTo>
                  <a:pt x="2087034" y="1058049"/>
                  <a:pt x="2094346" y="1053661"/>
                  <a:pt x="2101658" y="1047812"/>
                </a:cubicBezTo>
                <a:cubicBezTo>
                  <a:pt x="2108970" y="1041962"/>
                  <a:pt x="2117745" y="1034650"/>
                  <a:pt x="2127982" y="1024413"/>
                </a:cubicBezTo>
                <a:cubicBezTo>
                  <a:pt x="2138219" y="1014176"/>
                  <a:pt x="2148456" y="1001014"/>
                  <a:pt x="2160154" y="984927"/>
                </a:cubicBezTo>
                <a:cubicBezTo>
                  <a:pt x="2171854" y="968841"/>
                  <a:pt x="2183554" y="949829"/>
                  <a:pt x="2195253" y="929355"/>
                </a:cubicBezTo>
                <a:lnTo>
                  <a:pt x="2182091" y="929355"/>
                </a:lnTo>
                <a:cubicBezTo>
                  <a:pt x="2171854" y="942517"/>
                  <a:pt x="2161617" y="955679"/>
                  <a:pt x="2152843" y="965916"/>
                </a:cubicBezTo>
                <a:cubicBezTo>
                  <a:pt x="2144068" y="976153"/>
                  <a:pt x="2138219" y="982003"/>
                  <a:pt x="2132368" y="987852"/>
                </a:cubicBezTo>
                <a:cubicBezTo>
                  <a:pt x="2127982" y="992240"/>
                  <a:pt x="2123594" y="996627"/>
                  <a:pt x="2120670" y="998089"/>
                </a:cubicBezTo>
                <a:cubicBezTo>
                  <a:pt x="2117745" y="1001014"/>
                  <a:pt x="2114820" y="1002477"/>
                  <a:pt x="2113357" y="1003939"/>
                </a:cubicBezTo>
                <a:cubicBezTo>
                  <a:pt x="2108970" y="1006864"/>
                  <a:pt x="2106045" y="1006864"/>
                  <a:pt x="2101658" y="1006864"/>
                </a:cubicBezTo>
                <a:cubicBezTo>
                  <a:pt x="2097271" y="1005401"/>
                  <a:pt x="2097271" y="1002477"/>
                  <a:pt x="2097271" y="999552"/>
                </a:cubicBezTo>
                <a:cubicBezTo>
                  <a:pt x="2097271" y="998089"/>
                  <a:pt x="2097271" y="999552"/>
                  <a:pt x="2101658" y="989315"/>
                </a:cubicBezTo>
                <a:cubicBezTo>
                  <a:pt x="2106045" y="980540"/>
                  <a:pt x="2114820" y="965916"/>
                  <a:pt x="2122132" y="949829"/>
                </a:cubicBezTo>
                <a:lnTo>
                  <a:pt x="2218652" y="786038"/>
                </a:lnTo>
                <a:lnTo>
                  <a:pt x="2171854" y="786038"/>
                </a:lnTo>
                <a:lnTo>
                  <a:pt x="2155768" y="800662"/>
                </a:lnTo>
                <a:cubicBezTo>
                  <a:pt x="2149918" y="796275"/>
                  <a:pt x="2144068" y="793350"/>
                  <a:pt x="2139681" y="790425"/>
                </a:cubicBezTo>
                <a:cubicBezTo>
                  <a:pt x="2135294" y="787500"/>
                  <a:pt x="2132368" y="787500"/>
                  <a:pt x="2129444" y="787500"/>
                </a:cubicBezTo>
                <a:cubicBezTo>
                  <a:pt x="2126519" y="787500"/>
                  <a:pt x="2123594" y="786038"/>
                  <a:pt x="2120670" y="786038"/>
                </a:cubicBezTo>
                <a:cubicBezTo>
                  <a:pt x="2104583" y="786038"/>
                  <a:pt x="2088495" y="791888"/>
                  <a:pt x="2070947" y="802125"/>
                </a:cubicBezTo>
                <a:cubicBezTo>
                  <a:pt x="2065097" y="805049"/>
                  <a:pt x="2060710" y="809437"/>
                  <a:pt x="2053398" y="813824"/>
                </a:cubicBezTo>
                <a:cubicBezTo>
                  <a:pt x="2047548" y="818211"/>
                  <a:pt x="2040236" y="824061"/>
                  <a:pt x="2031462" y="832835"/>
                </a:cubicBezTo>
                <a:cubicBezTo>
                  <a:pt x="2022687" y="840148"/>
                  <a:pt x="2013913" y="850385"/>
                  <a:pt x="1996363" y="872321"/>
                </a:cubicBezTo>
                <a:cubicBezTo>
                  <a:pt x="1978814" y="894257"/>
                  <a:pt x="1953953" y="927893"/>
                  <a:pt x="1936404" y="951292"/>
                </a:cubicBezTo>
                <a:cubicBezTo>
                  <a:pt x="1918855" y="974691"/>
                  <a:pt x="1908618" y="986390"/>
                  <a:pt x="1901306" y="995164"/>
                </a:cubicBezTo>
                <a:cubicBezTo>
                  <a:pt x="1893994" y="1002477"/>
                  <a:pt x="1891069" y="1005401"/>
                  <a:pt x="1888144" y="1008326"/>
                </a:cubicBezTo>
                <a:cubicBezTo>
                  <a:pt x="1885219" y="1009789"/>
                  <a:pt x="1882294" y="1011251"/>
                  <a:pt x="1880832" y="1012714"/>
                </a:cubicBezTo>
                <a:cubicBezTo>
                  <a:pt x="1877907" y="1014176"/>
                  <a:pt x="1876445" y="1014176"/>
                  <a:pt x="1873520" y="1014176"/>
                </a:cubicBezTo>
                <a:cubicBezTo>
                  <a:pt x="1869133" y="1014176"/>
                  <a:pt x="1863283" y="1006864"/>
                  <a:pt x="1863283" y="1002477"/>
                </a:cubicBezTo>
                <a:cubicBezTo>
                  <a:pt x="1861821" y="993702"/>
                  <a:pt x="1863283" y="990777"/>
                  <a:pt x="1866208" y="977615"/>
                </a:cubicBezTo>
                <a:cubicBezTo>
                  <a:pt x="1867669" y="970303"/>
                  <a:pt x="1870594" y="958604"/>
                  <a:pt x="1876445" y="943980"/>
                </a:cubicBezTo>
                <a:cubicBezTo>
                  <a:pt x="1880832" y="929355"/>
                  <a:pt x="1886682" y="911806"/>
                  <a:pt x="1893994" y="894257"/>
                </a:cubicBezTo>
                <a:cubicBezTo>
                  <a:pt x="1930554" y="870858"/>
                  <a:pt x="1965652" y="844535"/>
                  <a:pt x="1993438" y="822599"/>
                </a:cubicBezTo>
                <a:cubicBezTo>
                  <a:pt x="2021225" y="800662"/>
                  <a:pt x="2040236" y="780188"/>
                  <a:pt x="2059248" y="758252"/>
                </a:cubicBezTo>
                <a:cubicBezTo>
                  <a:pt x="2078259" y="734853"/>
                  <a:pt x="2098733" y="708530"/>
                  <a:pt x="2117745" y="679281"/>
                </a:cubicBezTo>
                <a:lnTo>
                  <a:pt x="2095808" y="682206"/>
                </a:lnTo>
                <a:cubicBezTo>
                  <a:pt x="2081184" y="702680"/>
                  <a:pt x="2066560" y="721691"/>
                  <a:pt x="2049011" y="742165"/>
                </a:cubicBezTo>
                <a:cubicBezTo>
                  <a:pt x="2031462" y="762639"/>
                  <a:pt x="2010988" y="783113"/>
                  <a:pt x="1987589" y="803587"/>
                </a:cubicBezTo>
                <a:cubicBezTo>
                  <a:pt x="1964190" y="824061"/>
                  <a:pt x="1940791" y="843072"/>
                  <a:pt x="1914468" y="860622"/>
                </a:cubicBezTo>
                <a:cubicBezTo>
                  <a:pt x="1930554" y="829911"/>
                  <a:pt x="1948104" y="800662"/>
                  <a:pt x="1965652" y="769951"/>
                </a:cubicBezTo>
                <a:cubicBezTo>
                  <a:pt x="1983202" y="740703"/>
                  <a:pt x="2002213" y="711454"/>
                  <a:pt x="2021225" y="685131"/>
                </a:cubicBezTo>
                <a:cubicBezTo>
                  <a:pt x="2040236" y="658807"/>
                  <a:pt x="2057784" y="635408"/>
                  <a:pt x="2075334" y="614934"/>
                </a:cubicBezTo>
                <a:cubicBezTo>
                  <a:pt x="2091420" y="594461"/>
                  <a:pt x="2107508" y="579836"/>
                  <a:pt x="2119207" y="568137"/>
                </a:cubicBezTo>
                <a:cubicBezTo>
                  <a:pt x="2130907" y="556438"/>
                  <a:pt x="2141143" y="549125"/>
                  <a:pt x="2148456" y="543276"/>
                </a:cubicBezTo>
                <a:cubicBezTo>
                  <a:pt x="2155768" y="537426"/>
                  <a:pt x="2161617" y="535964"/>
                  <a:pt x="2164542" y="533039"/>
                </a:cubicBezTo>
                <a:cubicBezTo>
                  <a:pt x="2168930" y="531576"/>
                  <a:pt x="2171854" y="530114"/>
                  <a:pt x="2173317" y="530114"/>
                </a:cubicBezTo>
                <a:cubicBezTo>
                  <a:pt x="2174779" y="530114"/>
                  <a:pt x="2176242" y="530114"/>
                  <a:pt x="2177704" y="531576"/>
                </a:cubicBezTo>
                <a:cubicBezTo>
                  <a:pt x="2182091" y="535964"/>
                  <a:pt x="2182091" y="538888"/>
                  <a:pt x="2180629" y="543276"/>
                </a:cubicBezTo>
                <a:cubicBezTo>
                  <a:pt x="2180629" y="544738"/>
                  <a:pt x="2180629" y="546201"/>
                  <a:pt x="2177704" y="552050"/>
                </a:cubicBezTo>
                <a:cubicBezTo>
                  <a:pt x="2174779" y="557900"/>
                  <a:pt x="2171854" y="568137"/>
                  <a:pt x="2167467" y="576911"/>
                </a:cubicBezTo>
                <a:lnTo>
                  <a:pt x="2186479" y="573987"/>
                </a:lnTo>
                <a:cubicBezTo>
                  <a:pt x="2189403" y="568137"/>
                  <a:pt x="2193791" y="562287"/>
                  <a:pt x="2195253" y="557900"/>
                </a:cubicBezTo>
                <a:cubicBezTo>
                  <a:pt x="2196716" y="553513"/>
                  <a:pt x="2198178" y="552050"/>
                  <a:pt x="2198178" y="549125"/>
                </a:cubicBezTo>
                <a:cubicBezTo>
                  <a:pt x="2198178" y="546201"/>
                  <a:pt x="2199640" y="543276"/>
                  <a:pt x="2199640" y="540351"/>
                </a:cubicBezTo>
                <a:cubicBezTo>
                  <a:pt x="2199640" y="530114"/>
                  <a:pt x="2198178" y="521339"/>
                  <a:pt x="2189403" y="514027"/>
                </a:cubicBezTo>
                <a:cubicBezTo>
                  <a:pt x="2186479" y="512565"/>
                  <a:pt x="2185016" y="511102"/>
                  <a:pt x="2182091" y="509640"/>
                </a:cubicBezTo>
                <a:close/>
                <a:moveTo>
                  <a:pt x="2318097" y="508178"/>
                </a:moveTo>
                <a:cubicBezTo>
                  <a:pt x="2294698" y="528651"/>
                  <a:pt x="2268374" y="547663"/>
                  <a:pt x="2244976" y="560825"/>
                </a:cubicBezTo>
                <a:cubicBezTo>
                  <a:pt x="2221577" y="573987"/>
                  <a:pt x="2201103" y="584224"/>
                  <a:pt x="2177704" y="590073"/>
                </a:cubicBezTo>
                <a:cubicBezTo>
                  <a:pt x="2154305" y="595923"/>
                  <a:pt x="2126519" y="598848"/>
                  <a:pt x="2100196" y="598848"/>
                </a:cubicBezTo>
                <a:lnTo>
                  <a:pt x="2051936" y="657345"/>
                </a:lnTo>
                <a:cubicBezTo>
                  <a:pt x="2056323" y="657345"/>
                  <a:pt x="2059248" y="658807"/>
                  <a:pt x="2063635" y="658807"/>
                </a:cubicBezTo>
                <a:cubicBezTo>
                  <a:pt x="2069485" y="660270"/>
                  <a:pt x="2076797" y="660270"/>
                  <a:pt x="2087034" y="660270"/>
                </a:cubicBezTo>
                <a:cubicBezTo>
                  <a:pt x="2104583" y="660270"/>
                  <a:pt x="2122132" y="657345"/>
                  <a:pt x="2139681" y="652957"/>
                </a:cubicBezTo>
                <a:cubicBezTo>
                  <a:pt x="2176242" y="642720"/>
                  <a:pt x="2218652" y="622247"/>
                  <a:pt x="2250825" y="594461"/>
                </a:cubicBezTo>
                <a:cubicBezTo>
                  <a:pt x="2266912" y="581299"/>
                  <a:pt x="2281536" y="566674"/>
                  <a:pt x="2291773" y="552050"/>
                </a:cubicBezTo>
                <a:cubicBezTo>
                  <a:pt x="2303473" y="537426"/>
                  <a:pt x="2310785" y="522802"/>
                  <a:pt x="2318097" y="508178"/>
                </a:cubicBezTo>
                <a:close/>
                <a:moveTo>
                  <a:pt x="851286" y="505253"/>
                </a:moveTo>
                <a:cubicBezTo>
                  <a:pt x="842511" y="505253"/>
                  <a:pt x="832274" y="506715"/>
                  <a:pt x="819112" y="509640"/>
                </a:cubicBezTo>
                <a:cubicBezTo>
                  <a:pt x="805950" y="512565"/>
                  <a:pt x="792789" y="516952"/>
                  <a:pt x="776702" y="524264"/>
                </a:cubicBezTo>
                <a:cubicBezTo>
                  <a:pt x="760614" y="531576"/>
                  <a:pt x="743066" y="540351"/>
                  <a:pt x="724055" y="553513"/>
                </a:cubicBezTo>
                <a:cubicBezTo>
                  <a:pt x="705043" y="566674"/>
                  <a:pt x="683107" y="582761"/>
                  <a:pt x="661171" y="601773"/>
                </a:cubicBezTo>
                <a:cubicBezTo>
                  <a:pt x="639234" y="622247"/>
                  <a:pt x="615835" y="644183"/>
                  <a:pt x="595361" y="669044"/>
                </a:cubicBezTo>
                <a:cubicBezTo>
                  <a:pt x="552951" y="718766"/>
                  <a:pt x="519315" y="772876"/>
                  <a:pt x="500303" y="813824"/>
                </a:cubicBezTo>
                <a:cubicBezTo>
                  <a:pt x="490066" y="835760"/>
                  <a:pt x="484217" y="853309"/>
                  <a:pt x="478367" y="870858"/>
                </a:cubicBezTo>
                <a:cubicBezTo>
                  <a:pt x="473980" y="886945"/>
                  <a:pt x="471055" y="901569"/>
                  <a:pt x="469592" y="916194"/>
                </a:cubicBezTo>
                <a:cubicBezTo>
                  <a:pt x="469592" y="939592"/>
                  <a:pt x="471055" y="958604"/>
                  <a:pt x="473980" y="974691"/>
                </a:cubicBezTo>
                <a:cubicBezTo>
                  <a:pt x="475442" y="982003"/>
                  <a:pt x="476905" y="989315"/>
                  <a:pt x="479830" y="995164"/>
                </a:cubicBezTo>
                <a:cubicBezTo>
                  <a:pt x="482755" y="1002477"/>
                  <a:pt x="485680" y="1008326"/>
                  <a:pt x="488605" y="1012714"/>
                </a:cubicBezTo>
                <a:cubicBezTo>
                  <a:pt x="491529" y="1018563"/>
                  <a:pt x="495917" y="1022951"/>
                  <a:pt x="500303" y="1028800"/>
                </a:cubicBezTo>
                <a:cubicBezTo>
                  <a:pt x="504691" y="1033187"/>
                  <a:pt x="510541" y="1037575"/>
                  <a:pt x="516391" y="1041962"/>
                </a:cubicBezTo>
                <a:cubicBezTo>
                  <a:pt x="522240" y="1046349"/>
                  <a:pt x="529552" y="1049274"/>
                  <a:pt x="539788" y="1053661"/>
                </a:cubicBezTo>
                <a:cubicBezTo>
                  <a:pt x="548564" y="1056586"/>
                  <a:pt x="558801" y="1059511"/>
                  <a:pt x="571963" y="1062436"/>
                </a:cubicBezTo>
                <a:cubicBezTo>
                  <a:pt x="585124" y="1063898"/>
                  <a:pt x="599749" y="1065361"/>
                  <a:pt x="615835" y="1065361"/>
                </a:cubicBezTo>
                <a:cubicBezTo>
                  <a:pt x="640697" y="1066823"/>
                  <a:pt x="664095" y="1063898"/>
                  <a:pt x="705043" y="1055124"/>
                </a:cubicBezTo>
                <a:cubicBezTo>
                  <a:pt x="745991" y="1046349"/>
                  <a:pt x="803026" y="1030263"/>
                  <a:pt x="845436" y="1021488"/>
                </a:cubicBezTo>
                <a:cubicBezTo>
                  <a:pt x="886384" y="1012714"/>
                  <a:pt x="911245" y="1011251"/>
                  <a:pt x="936106" y="1011251"/>
                </a:cubicBezTo>
                <a:cubicBezTo>
                  <a:pt x="952193" y="1011251"/>
                  <a:pt x="966817" y="1012714"/>
                  <a:pt x="978517" y="1014176"/>
                </a:cubicBezTo>
                <a:cubicBezTo>
                  <a:pt x="990216" y="1015638"/>
                  <a:pt x="1000453" y="1018563"/>
                  <a:pt x="1009226" y="1022951"/>
                </a:cubicBezTo>
                <a:cubicBezTo>
                  <a:pt x="1018002" y="1027338"/>
                  <a:pt x="1025314" y="1031725"/>
                  <a:pt x="1034089" y="1039037"/>
                </a:cubicBezTo>
                <a:cubicBezTo>
                  <a:pt x="1042863" y="1046349"/>
                  <a:pt x="1051638" y="1055124"/>
                  <a:pt x="1060412" y="1065361"/>
                </a:cubicBezTo>
                <a:cubicBezTo>
                  <a:pt x="1086736" y="1047812"/>
                  <a:pt x="1114522" y="1036112"/>
                  <a:pt x="1134996" y="1033187"/>
                </a:cubicBezTo>
                <a:cubicBezTo>
                  <a:pt x="1145233" y="1031725"/>
                  <a:pt x="1155470" y="1030263"/>
                  <a:pt x="1164244" y="1030263"/>
                </a:cubicBezTo>
                <a:cubicBezTo>
                  <a:pt x="1168632" y="1030263"/>
                  <a:pt x="1171555" y="1030263"/>
                  <a:pt x="1177406" y="1031725"/>
                </a:cubicBezTo>
                <a:cubicBezTo>
                  <a:pt x="1181793" y="1031725"/>
                  <a:pt x="1187643" y="1033187"/>
                  <a:pt x="1202266" y="1037575"/>
                </a:cubicBezTo>
                <a:cubicBezTo>
                  <a:pt x="1216892" y="1041962"/>
                  <a:pt x="1241753" y="1050737"/>
                  <a:pt x="1265152" y="1060974"/>
                </a:cubicBezTo>
                <a:cubicBezTo>
                  <a:pt x="1241753" y="1039037"/>
                  <a:pt x="1215429" y="1018563"/>
                  <a:pt x="1192030" y="1005401"/>
                </a:cubicBezTo>
                <a:cubicBezTo>
                  <a:pt x="1168632" y="990777"/>
                  <a:pt x="1148158" y="982003"/>
                  <a:pt x="1121834" y="977615"/>
                </a:cubicBezTo>
                <a:cubicBezTo>
                  <a:pt x="1096973" y="971766"/>
                  <a:pt x="1066262" y="968841"/>
                  <a:pt x="1035551" y="968841"/>
                </a:cubicBezTo>
                <a:cubicBezTo>
                  <a:pt x="1009226" y="967378"/>
                  <a:pt x="981440" y="968841"/>
                  <a:pt x="931719" y="980540"/>
                </a:cubicBezTo>
                <a:cubicBezTo>
                  <a:pt x="881997" y="992240"/>
                  <a:pt x="810338" y="1012714"/>
                  <a:pt x="763539" y="1024413"/>
                </a:cubicBezTo>
                <a:cubicBezTo>
                  <a:pt x="716743" y="1036112"/>
                  <a:pt x="693344" y="1039037"/>
                  <a:pt x="669945" y="1039037"/>
                </a:cubicBezTo>
                <a:cubicBezTo>
                  <a:pt x="658246" y="1039037"/>
                  <a:pt x="646546" y="1037575"/>
                  <a:pt x="637772" y="1036112"/>
                </a:cubicBezTo>
                <a:cubicBezTo>
                  <a:pt x="627535" y="1034650"/>
                  <a:pt x="618760" y="1031725"/>
                  <a:pt x="611448" y="1028800"/>
                </a:cubicBezTo>
                <a:cubicBezTo>
                  <a:pt x="604136" y="1025875"/>
                  <a:pt x="596824" y="1021488"/>
                  <a:pt x="592437" y="1018563"/>
                </a:cubicBezTo>
                <a:cubicBezTo>
                  <a:pt x="586587" y="1014176"/>
                  <a:pt x="582200" y="1009789"/>
                  <a:pt x="577812" y="1005401"/>
                </a:cubicBezTo>
                <a:cubicBezTo>
                  <a:pt x="573425" y="1001014"/>
                  <a:pt x="570500" y="995164"/>
                  <a:pt x="567574" y="989315"/>
                </a:cubicBezTo>
                <a:cubicBezTo>
                  <a:pt x="564651" y="983465"/>
                  <a:pt x="563188" y="977615"/>
                  <a:pt x="560263" y="971766"/>
                </a:cubicBezTo>
                <a:cubicBezTo>
                  <a:pt x="558801" y="964454"/>
                  <a:pt x="557338" y="958604"/>
                  <a:pt x="557338" y="949829"/>
                </a:cubicBezTo>
                <a:cubicBezTo>
                  <a:pt x="557338" y="942517"/>
                  <a:pt x="557338" y="933743"/>
                  <a:pt x="557338" y="926431"/>
                </a:cubicBezTo>
                <a:cubicBezTo>
                  <a:pt x="558801" y="914731"/>
                  <a:pt x="561726" y="903032"/>
                  <a:pt x="566113" y="885483"/>
                </a:cubicBezTo>
                <a:cubicBezTo>
                  <a:pt x="571963" y="869396"/>
                  <a:pt x="579275" y="848922"/>
                  <a:pt x="590974" y="822599"/>
                </a:cubicBezTo>
                <a:cubicBezTo>
                  <a:pt x="602674" y="799200"/>
                  <a:pt x="618760" y="768489"/>
                  <a:pt x="637772" y="739240"/>
                </a:cubicBezTo>
                <a:cubicBezTo>
                  <a:pt x="656783" y="709992"/>
                  <a:pt x="677257" y="680743"/>
                  <a:pt x="696268" y="655882"/>
                </a:cubicBezTo>
                <a:cubicBezTo>
                  <a:pt x="715280" y="631021"/>
                  <a:pt x="734292" y="612010"/>
                  <a:pt x="750378" y="595923"/>
                </a:cubicBezTo>
                <a:cubicBezTo>
                  <a:pt x="766465" y="579836"/>
                  <a:pt x="779627" y="568137"/>
                  <a:pt x="792789" y="559362"/>
                </a:cubicBezTo>
                <a:cubicBezTo>
                  <a:pt x="804488" y="550588"/>
                  <a:pt x="814725" y="544738"/>
                  <a:pt x="823500" y="540351"/>
                </a:cubicBezTo>
                <a:cubicBezTo>
                  <a:pt x="832274" y="535964"/>
                  <a:pt x="839586" y="533039"/>
                  <a:pt x="846898" y="531576"/>
                </a:cubicBezTo>
                <a:cubicBezTo>
                  <a:pt x="854210" y="530114"/>
                  <a:pt x="860060" y="528651"/>
                  <a:pt x="865910" y="528651"/>
                </a:cubicBezTo>
                <a:cubicBezTo>
                  <a:pt x="870297" y="528651"/>
                  <a:pt x="873222" y="528651"/>
                  <a:pt x="876147" y="531576"/>
                </a:cubicBezTo>
                <a:cubicBezTo>
                  <a:pt x="879072" y="534501"/>
                  <a:pt x="879072" y="537426"/>
                  <a:pt x="879072" y="541813"/>
                </a:cubicBezTo>
                <a:cubicBezTo>
                  <a:pt x="879072" y="543276"/>
                  <a:pt x="879072" y="546201"/>
                  <a:pt x="879072" y="549125"/>
                </a:cubicBezTo>
                <a:cubicBezTo>
                  <a:pt x="870297" y="553513"/>
                  <a:pt x="860060" y="560825"/>
                  <a:pt x="852748" y="566674"/>
                </a:cubicBezTo>
                <a:cubicBezTo>
                  <a:pt x="849823" y="569599"/>
                  <a:pt x="846898" y="572524"/>
                  <a:pt x="843974" y="575449"/>
                </a:cubicBezTo>
                <a:cubicBezTo>
                  <a:pt x="838124" y="581299"/>
                  <a:pt x="835199" y="587148"/>
                  <a:pt x="833737" y="594461"/>
                </a:cubicBezTo>
                <a:cubicBezTo>
                  <a:pt x="832274" y="598848"/>
                  <a:pt x="838124" y="607622"/>
                  <a:pt x="841049" y="609085"/>
                </a:cubicBezTo>
                <a:cubicBezTo>
                  <a:pt x="852748" y="617859"/>
                  <a:pt x="865910" y="612010"/>
                  <a:pt x="879072" y="595923"/>
                </a:cubicBezTo>
                <a:cubicBezTo>
                  <a:pt x="881997" y="592998"/>
                  <a:pt x="884921" y="588611"/>
                  <a:pt x="886384" y="585686"/>
                </a:cubicBezTo>
                <a:cubicBezTo>
                  <a:pt x="889309" y="581299"/>
                  <a:pt x="890771" y="576911"/>
                  <a:pt x="892233" y="572524"/>
                </a:cubicBezTo>
                <a:cubicBezTo>
                  <a:pt x="899546" y="554975"/>
                  <a:pt x="902470" y="537426"/>
                  <a:pt x="892233" y="521339"/>
                </a:cubicBezTo>
                <a:cubicBezTo>
                  <a:pt x="889309" y="518415"/>
                  <a:pt x="886384" y="515490"/>
                  <a:pt x="883459" y="512565"/>
                </a:cubicBezTo>
                <a:cubicBezTo>
                  <a:pt x="880534" y="509640"/>
                  <a:pt x="876147" y="508178"/>
                  <a:pt x="870297" y="506715"/>
                </a:cubicBezTo>
                <a:cubicBezTo>
                  <a:pt x="865910" y="505253"/>
                  <a:pt x="860060" y="503790"/>
                  <a:pt x="851286" y="505253"/>
                </a:cubicBezTo>
                <a:close/>
                <a:moveTo>
                  <a:pt x="1726180" y="502876"/>
                </a:moveTo>
                <a:cubicBezTo>
                  <a:pt x="1717406" y="503791"/>
                  <a:pt x="1708265" y="505984"/>
                  <a:pt x="1698029" y="509640"/>
                </a:cubicBezTo>
                <a:cubicBezTo>
                  <a:pt x="1681942" y="514027"/>
                  <a:pt x="1664393" y="521339"/>
                  <a:pt x="1642457" y="533039"/>
                </a:cubicBezTo>
                <a:cubicBezTo>
                  <a:pt x="1620521" y="544738"/>
                  <a:pt x="1595659" y="560825"/>
                  <a:pt x="1569336" y="579836"/>
                </a:cubicBezTo>
                <a:cubicBezTo>
                  <a:pt x="1543012" y="598848"/>
                  <a:pt x="1516688" y="622247"/>
                  <a:pt x="1493290" y="645645"/>
                </a:cubicBezTo>
                <a:cubicBezTo>
                  <a:pt x="1468428" y="670507"/>
                  <a:pt x="1446492" y="695368"/>
                  <a:pt x="1427481" y="720229"/>
                </a:cubicBezTo>
                <a:cubicBezTo>
                  <a:pt x="1408469" y="745090"/>
                  <a:pt x="1392381" y="768489"/>
                  <a:pt x="1380683" y="790425"/>
                </a:cubicBezTo>
                <a:cubicBezTo>
                  <a:pt x="1367521" y="812362"/>
                  <a:pt x="1357284" y="832835"/>
                  <a:pt x="1349972" y="853309"/>
                </a:cubicBezTo>
                <a:cubicBezTo>
                  <a:pt x="1342660" y="872321"/>
                  <a:pt x="1336810" y="891332"/>
                  <a:pt x="1332423" y="907419"/>
                </a:cubicBezTo>
                <a:cubicBezTo>
                  <a:pt x="1328036" y="924968"/>
                  <a:pt x="1325111" y="939592"/>
                  <a:pt x="1325111" y="952754"/>
                </a:cubicBezTo>
                <a:cubicBezTo>
                  <a:pt x="1323649" y="965916"/>
                  <a:pt x="1323649" y="974691"/>
                  <a:pt x="1325111" y="984927"/>
                </a:cubicBezTo>
                <a:cubicBezTo>
                  <a:pt x="1326573" y="993702"/>
                  <a:pt x="1328036" y="1002477"/>
                  <a:pt x="1332423" y="1011251"/>
                </a:cubicBezTo>
                <a:cubicBezTo>
                  <a:pt x="1335348" y="1020026"/>
                  <a:pt x="1341198" y="1027338"/>
                  <a:pt x="1345585" y="1034650"/>
                </a:cubicBezTo>
                <a:cubicBezTo>
                  <a:pt x="1351435" y="1041962"/>
                  <a:pt x="1358747" y="1047812"/>
                  <a:pt x="1366059" y="1053661"/>
                </a:cubicBezTo>
                <a:cubicBezTo>
                  <a:pt x="1373371" y="1058049"/>
                  <a:pt x="1382145" y="1062436"/>
                  <a:pt x="1390920" y="1065361"/>
                </a:cubicBezTo>
                <a:cubicBezTo>
                  <a:pt x="1409931" y="1071210"/>
                  <a:pt x="1427481" y="1071210"/>
                  <a:pt x="1449417" y="1065361"/>
                </a:cubicBezTo>
                <a:cubicBezTo>
                  <a:pt x="1459654" y="1062436"/>
                  <a:pt x="1472816" y="1056586"/>
                  <a:pt x="1485978" y="1049274"/>
                </a:cubicBezTo>
                <a:cubicBezTo>
                  <a:pt x="1513764" y="1034650"/>
                  <a:pt x="1544475" y="1009789"/>
                  <a:pt x="1567873" y="982003"/>
                </a:cubicBezTo>
                <a:cubicBezTo>
                  <a:pt x="1592735" y="954217"/>
                  <a:pt x="1610284" y="926431"/>
                  <a:pt x="1620521" y="900107"/>
                </a:cubicBezTo>
                <a:cubicBezTo>
                  <a:pt x="1621983" y="889870"/>
                  <a:pt x="1626370" y="876708"/>
                  <a:pt x="1629295" y="865009"/>
                </a:cubicBezTo>
                <a:cubicBezTo>
                  <a:pt x="1632220" y="853309"/>
                  <a:pt x="1633682" y="841610"/>
                  <a:pt x="1635145" y="831373"/>
                </a:cubicBezTo>
                <a:cubicBezTo>
                  <a:pt x="1636607" y="822599"/>
                  <a:pt x="1635145" y="815286"/>
                  <a:pt x="1633682" y="807974"/>
                </a:cubicBezTo>
                <a:cubicBezTo>
                  <a:pt x="1632220" y="805049"/>
                  <a:pt x="1630758" y="802125"/>
                  <a:pt x="1630758" y="800662"/>
                </a:cubicBezTo>
                <a:cubicBezTo>
                  <a:pt x="1627833" y="794812"/>
                  <a:pt x="1623445" y="793350"/>
                  <a:pt x="1619058" y="790425"/>
                </a:cubicBezTo>
                <a:cubicBezTo>
                  <a:pt x="1616132" y="788963"/>
                  <a:pt x="1613207" y="787500"/>
                  <a:pt x="1610284" y="787500"/>
                </a:cubicBezTo>
                <a:cubicBezTo>
                  <a:pt x="1607359" y="786038"/>
                  <a:pt x="1602972" y="786038"/>
                  <a:pt x="1597122" y="786038"/>
                </a:cubicBezTo>
                <a:cubicBezTo>
                  <a:pt x="1592735" y="786038"/>
                  <a:pt x="1586885" y="786038"/>
                  <a:pt x="1581035" y="787500"/>
                </a:cubicBezTo>
                <a:cubicBezTo>
                  <a:pt x="1559099" y="791888"/>
                  <a:pt x="1535700" y="803587"/>
                  <a:pt x="1512301" y="829911"/>
                </a:cubicBezTo>
                <a:cubicBezTo>
                  <a:pt x="1506452" y="837223"/>
                  <a:pt x="1500602" y="844535"/>
                  <a:pt x="1494752" y="853309"/>
                </a:cubicBezTo>
                <a:cubicBezTo>
                  <a:pt x="1488902" y="862084"/>
                  <a:pt x="1483053" y="872321"/>
                  <a:pt x="1477203" y="884020"/>
                </a:cubicBezTo>
                <a:cubicBezTo>
                  <a:pt x="1471353" y="895720"/>
                  <a:pt x="1466966" y="907419"/>
                  <a:pt x="1462579" y="920581"/>
                </a:cubicBezTo>
                <a:cubicBezTo>
                  <a:pt x="1458192" y="933743"/>
                  <a:pt x="1455267" y="946905"/>
                  <a:pt x="1452342" y="960066"/>
                </a:cubicBezTo>
                <a:cubicBezTo>
                  <a:pt x="1464041" y="949829"/>
                  <a:pt x="1477203" y="939592"/>
                  <a:pt x="1485978" y="933743"/>
                </a:cubicBezTo>
                <a:cubicBezTo>
                  <a:pt x="1494752" y="926431"/>
                  <a:pt x="1500602" y="923506"/>
                  <a:pt x="1507914" y="919118"/>
                </a:cubicBezTo>
                <a:cubicBezTo>
                  <a:pt x="1515226" y="914731"/>
                  <a:pt x="1524000" y="910344"/>
                  <a:pt x="1534238" y="905957"/>
                </a:cubicBezTo>
                <a:cubicBezTo>
                  <a:pt x="1537162" y="891332"/>
                  <a:pt x="1543012" y="876708"/>
                  <a:pt x="1548862" y="863546"/>
                </a:cubicBezTo>
                <a:cubicBezTo>
                  <a:pt x="1551787" y="857697"/>
                  <a:pt x="1554712" y="851847"/>
                  <a:pt x="1557636" y="847460"/>
                </a:cubicBezTo>
                <a:cubicBezTo>
                  <a:pt x="1560561" y="843072"/>
                  <a:pt x="1563486" y="838685"/>
                  <a:pt x="1566411" y="835760"/>
                </a:cubicBezTo>
                <a:cubicBezTo>
                  <a:pt x="1573723" y="826986"/>
                  <a:pt x="1581035" y="821136"/>
                  <a:pt x="1588347" y="818211"/>
                </a:cubicBezTo>
                <a:cubicBezTo>
                  <a:pt x="1598584" y="815286"/>
                  <a:pt x="1607359" y="813824"/>
                  <a:pt x="1616132" y="821136"/>
                </a:cubicBezTo>
                <a:cubicBezTo>
                  <a:pt x="1620521" y="825523"/>
                  <a:pt x="1620521" y="829911"/>
                  <a:pt x="1620521" y="834298"/>
                </a:cubicBezTo>
                <a:cubicBezTo>
                  <a:pt x="1620521" y="851847"/>
                  <a:pt x="1616132" y="867934"/>
                  <a:pt x="1610284" y="886945"/>
                </a:cubicBezTo>
                <a:cubicBezTo>
                  <a:pt x="1607359" y="895720"/>
                  <a:pt x="1602972" y="903032"/>
                  <a:pt x="1598584" y="913269"/>
                </a:cubicBezTo>
                <a:cubicBezTo>
                  <a:pt x="1594197" y="922043"/>
                  <a:pt x="1588347" y="930818"/>
                  <a:pt x="1581035" y="941055"/>
                </a:cubicBezTo>
                <a:cubicBezTo>
                  <a:pt x="1567873" y="960066"/>
                  <a:pt x="1548862" y="980540"/>
                  <a:pt x="1526925" y="996627"/>
                </a:cubicBezTo>
                <a:cubicBezTo>
                  <a:pt x="1506452" y="1012714"/>
                  <a:pt x="1485978" y="1024413"/>
                  <a:pt x="1471353" y="1028800"/>
                </a:cubicBezTo>
                <a:cubicBezTo>
                  <a:pt x="1464041" y="1030263"/>
                  <a:pt x="1459654" y="1031725"/>
                  <a:pt x="1453803" y="1031725"/>
                </a:cubicBezTo>
                <a:cubicBezTo>
                  <a:pt x="1449417" y="1031725"/>
                  <a:pt x="1445030" y="1031725"/>
                  <a:pt x="1439180" y="1030263"/>
                </a:cubicBezTo>
                <a:cubicBezTo>
                  <a:pt x="1430405" y="1027338"/>
                  <a:pt x="1421631" y="1021488"/>
                  <a:pt x="1414319" y="1012714"/>
                </a:cubicBezTo>
                <a:cubicBezTo>
                  <a:pt x="1411394" y="1008326"/>
                  <a:pt x="1408469" y="1003939"/>
                  <a:pt x="1405544" y="998089"/>
                </a:cubicBezTo>
                <a:cubicBezTo>
                  <a:pt x="1401157" y="987852"/>
                  <a:pt x="1399695" y="976153"/>
                  <a:pt x="1401157" y="965916"/>
                </a:cubicBezTo>
                <a:cubicBezTo>
                  <a:pt x="1402619" y="954217"/>
                  <a:pt x="1405544" y="942517"/>
                  <a:pt x="1412856" y="922043"/>
                </a:cubicBezTo>
                <a:cubicBezTo>
                  <a:pt x="1420169" y="901569"/>
                  <a:pt x="1433330" y="872321"/>
                  <a:pt x="1449417" y="840148"/>
                </a:cubicBezTo>
                <a:cubicBezTo>
                  <a:pt x="1466966" y="807974"/>
                  <a:pt x="1487440" y="771414"/>
                  <a:pt x="1507914" y="740703"/>
                </a:cubicBezTo>
                <a:cubicBezTo>
                  <a:pt x="1528388" y="709992"/>
                  <a:pt x="1547399" y="682206"/>
                  <a:pt x="1566411" y="661732"/>
                </a:cubicBezTo>
                <a:cubicBezTo>
                  <a:pt x="1581035" y="639796"/>
                  <a:pt x="1597122" y="622247"/>
                  <a:pt x="1611746" y="609085"/>
                </a:cubicBezTo>
                <a:cubicBezTo>
                  <a:pt x="1626370" y="595923"/>
                  <a:pt x="1638070" y="584224"/>
                  <a:pt x="1649768" y="575449"/>
                </a:cubicBezTo>
                <a:cubicBezTo>
                  <a:pt x="1661468" y="566674"/>
                  <a:pt x="1670243" y="560825"/>
                  <a:pt x="1680480" y="554975"/>
                </a:cubicBezTo>
                <a:cubicBezTo>
                  <a:pt x="1689255" y="550588"/>
                  <a:pt x="1698029" y="546201"/>
                  <a:pt x="1705341" y="543276"/>
                </a:cubicBezTo>
                <a:cubicBezTo>
                  <a:pt x="1725815" y="535964"/>
                  <a:pt x="1743364" y="534501"/>
                  <a:pt x="1763838" y="535964"/>
                </a:cubicBezTo>
                <a:cubicBezTo>
                  <a:pt x="1747751" y="544738"/>
                  <a:pt x="1733127" y="554975"/>
                  <a:pt x="1719965" y="565212"/>
                </a:cubicBezTo>
                <a:cubicBezTo>
                  <a:pt x="1692179" y="587148"/>
                  <a:pt x="1673168" y="609085"/>
                  <a:pt x="1660006" y="628096"/>
                </a:cubicBezTo>
                <a:cubicBezTo>
                  <a:pt x="1652694" y="638333"/>
                  <a:pt x="1648307" y="647108"/>
                  <a:pt x="1643918" y="654420"/>
                </a:cubicBezTo>
                <a:cubicBezTo>
                  <a:pt x="1639532" y="663194"/>
                  <a:pt x="1636607" y="670507"/>
                  <a:pt x="1635145" y="677819"/>
                </a:cubicBezTo>
                <a:cubicBezTo>
                  <a:pt x="1633682" y="685131"/>
                  <a:pt x="1632220" y="692443"/>
                  <a:pt x="1630758" y="696830"/>
                </a:cubicBezTo>
                <a:cubicBezTo>
                  <a:pt x="1630758" y="702680"/>
                  <a:pt x="1630758" y="705605"/>
                  <a:pt x="1630758" y="709992"/>
                </a:cubicBezTo>
                <a:cubicBezTo>
                  <a:pt x="1630758" y="712917"/>
                  <a:pt x="1632220" y="715842"/>
                  <a:pt x="1633682" y="718766"/>
                </a:cubicBezTo>
                <a:cubicBezTo>
                  <a:pt x="1635145" y="721691"/>
                  <a:pt x="1636607" y="723154"/>
                  <a:pt x="1638070" y="726079"/>
                </a:cubicBezTo>
                <a:cubicBezTo>
                  <a:pt x="1639532" y="727541"/>
                  <a:pt x="1642457" y="730466"/>
                  <a:pt x="1643918" y="731928"/>
                </a:cubicBezTo>
                <a:cubicBezTo>
                  <a:pt x="1646843" y="733391"/>
                  <a:pt x="1649768" y="734853"/>
                  <a:pt x="1652694" y="734853"/>
                </a:cubicBezTo>
                <a:cubicBezTo>
                  <a:pt x="1655619" y="736316"/>
                  <a:pt x="1660006" y="736316"/>
                  <a:pt x="1664393" y="736316"/>
                </a:cubicBezTo>
                <a:cubicBezTo>
                  <a:pt x="1673168" y="736316"/>
                  <a:pt x="1680480" y="734853"/>
                  <a:pt x="1690717" y="729003"/>
                </a:cubicBezTo>
                <a:cubicBezTo>
                  <a:pt x="1696567" y="726079"/>
                  <a:pt x="1702416" y="723154"/>
                  <a:pt x="1708266" y="718766"/>
                </a:cubicBezTo>
                <a:cubicBezTo>
                  <a:pt x="1714116" y="714379"/>
                  <a:pt x="1721428" y="708530"/>
                  <a:pt x="1728740" y="701217"/>
                </a:cubicBezTo>
                <a:cubicBezTo>
                  <a:pt x="1736052" y="693905"/>
                  <a:pt x="1743364" y="686593"/>
                  <a:pt x="1749214" y="676356"/>
                </a:cubicBezTo>
                <a:cubicBezTo>
                  <a:pt x="1756526" y="667582"/>
                  <a:pt x="1762376" y="657345"/>
                  <a:pt x="1768225" y="647108"/>
                </a:cubicBezTo>
                <a:cubicBezTo>
                  <a:pt x="1778462" y="628096"/>
                  <a:pt x="1787237" y="609085"/>
                  <a:pt x="1790162" y="592998"/>
                </a:cubicBezTo>
                <a:cubicBezTo>
                  <a:pt x="1791624" y="585686"/>
                  <a:pt x="1793087" y="578374"/>
                  <a:pt x="1794549" y="571062"/>
                </a:cubicBezTo>
                <a:cubicBezTo>
                  <a:pt x="1794549" y="569599"/>
                  <a:pt x="1794549" y="568137"/>
                  <a:pt x="1794549" y="563750"/>
                </a:cubicBezTo>
                <a:cubicBezTo>
                  <a:pt x="1794549" y="560825"/>
                  <a:pt x="1794549" y="554975"/>
                  <a:pt x="1794549" y="550588"/>
                </a:cubicBezTo>
                <a:cubicBezTo>
                  <a:pt x="1794549" y="546201"/>
                  <a:pt x="1794549" y="544738"/>
                  <a:pt x="1794549" y="541813"/>
                </a:cubicBezTo>
                <a:cubicBezTo>
                  <a:pt x="1812098" y="541813"/>
                  <a:pt x="1829647" y="543276"/>
                  <a:pt x="1847196" y="547663"/>
                </a:cubicBezTo>
                <a:cubicBezTo>
                  <a:pt x="1863283" y="552050"/>
                  <a:pt x="1879370" y="559362"/>
                  <a:pt x="1901306" y="572524"/>
                </a:cubicBezTo>
                <a:cubicBezTo>
                  <a:pt x="1923242" y="587148"/>
                  <a:pt x="1952491" y="607622"/>
                  <a:pt x="1980277" y="631021"/>
                </a:cubicBezTo>
                <a:lnTo>
                  <a:pt x="2032924" y="576911"/>
                </a:lnTo>
                <a:cubicBezTo>
                  <a:pt x="2015375" y="562287"/>
                  <a:pt x="1997826" y="547663"/>
                  <a:pt x="1981739" y="537426"/>
                </a:cubicBezTo>
                <a:cubicBezTo>
                  <a:pt x="1965652" y="527189"/>
                  <a:pt x="1952491" y="519877"/>
                  <a:pt x="1940791" y="515490"/>
                </a:cubicBezTo>
                <a:cubicBezTo>
                  <a:pt x="1929092" y="511102"/>
                  <a:pt x="1917393" y="506715"/>
                  <a:pt x="1908618" y="505253"/>
                </a:cubicBezTo>
                <a:cubicBezTo>
                  <a:pt x="1893994" y="502328"/>
                  <a:pt x="1880832" y="500865"/>
                  <a:pt x="1864744" y="503790"/>
                </a:cubicBezTo>
                <a:cubicBezTo>
                  <a:pt x="1858896" y="503790"/>
                  <a:pt x="1853046" y="505253"/>
                  <a:pt x="1841347" y="508178"/>
                </a:cubicBezTo>
                <a:cubicBezTo>
                  <a:pt x="1829647" y="511102"/>
                  <a:pt x="1812098" y="516952"/>
                  <a:pt x="1794549" y="522802"/>
                </a:cubicBezTo>
                <a:cubicBezTo>
                  <a:pt x="1785775" y="516952"/>
                  <a:pt x="1775537" y="511102"/>
                  <a:pt x="1768225" y="508178"/>
                </a:cubicBezTo>
                <a:cubicBezTo>
                  <a:pt x="1760913" y="505253"/>
                  <a:pt x="1756526" y="503790"/>
                  <a:pt x="1752139" y="503790"/>
                </a:cubicBezTo>
                <a:cubicBezTo>
                  <a:pt x="1743364" y="502328"/>
                  <a:pt x="1734955" y="501962"/>
                  <a:pt x="1726180" y="5028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859345"/>
                </a:lnTo>
                <a:lnTo>
                  <a:pt x="6587067" y="5859345"/>
                </a:lnTo>
                <a:lnTo>
                  <a:pt x="6587067" y="4673658"/>
                </a:lnTo>
                <a:lnTo>
                  <a:pt x="0" y="4673658"/>
                </a:lnTo>
                <a:lnTo>
                  <a:pt x="0" y="4397961"/>
                </a:lnTo>
                <a:lnTo>
                  <a:pt x="4672121" y="4397961"/>
                </a:lnTo>
                <a:lnTo>
                  <a:pt x="4672121" y="4351438"/>
                </a:lnTo>
                <a:lnTo>
                  <a:pt x="0" y="4351438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icon to </a:t>
            </a:r>
            <a:r>
              <a:rPr lang="en-US"/>
              <a:t>add picture</a:t>
            </a:r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FB94C0D-94EA-4D6B-B115-E5640B48A2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7859" y="4706620"/>
            <a:ext cx="6104272" cy="1092643"/>
          </a:xfrm>
          <a:prstGeom prst="rect">
            <a:avLst/>
          </a:prstGeom>
        </p:spPr>
        <p:txBody>
          <a:bodyPr vert="horz" anchor="ctr"/>
          <a:lstStyle>
            <a:lvl1pPr algn="l" rtl="0">
              <a:defRPr sz="6000">
                <a:solidFill>
                  <a:schemeClr val="bg1"/>
                </a:solidFill>
                <a:latin typeface="TCCC-UnityHeadline" panose="020B0805030303020204" pitchFamily="34" charset="0"/>
              </a:defRPr>
            </a:lvl1pPr>
          </a:lstStyle>
          <a:p>
            <a:r>
              <a:rPr lang="en-US"/>
              <a:t>Title Page</a:t>
            </a:r>
            <a:endParaRPr lang="en-US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A309C4A-CC34-4818-AA42-0D91977B6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1055" y="5973209"/>
            <a:ext cx="9144000" cy="399195"/>
          </a:xfrm>
          <a:prstGeom prst="rect">
            <a:avLst/>
          </a:prstGeom>
        </p:spPr>
        <p:txBody>
          <a:bodyPr anchor="ctr"/>
          <a:lstStyle>
            <a:lvl1pPr marL="0" indent="0" algn="l" rtl="0">
              <a:buNone/>
              <a:defRPr sz="2400" b="0">
                <a:solidFill>
                  <a:schemeClr val="bg1"/>
                </a:solidFill>
                <a:latin typeface="TCCC-UnityText" panose="020B0305030303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>
                <a:solidFill>
                  <a:schemeClr val="bg1"/>
                </a:solidFill>
                <a:latin typeface="TCCC-UnityText" panose="020B0305030303020204" pitchFamily="34" charset="0"/>
              </a:rPr>
              <a:t>Sub title | Date</a:t>
            </a:r>
            <a:endParaRPr lang="en-US" sz="2400" dirty="0">
              <a:solidFill>
                <a:schemeClr val="bg1"/>
              </a:solidFill>
              <a:latin typeface="TCCC-UnityText" panose="020B0305030303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138DFD-ED2E-4B5E-BF99-9B5E3E0AEA93}"/>
              </a:ext>
            </a:extLst>
          </p:cNvPr>
          <p:cNvSpPr/>
          <p:nvPr userDrawn="1"/>
        </p:nvSpPr>
        <p:spPr>
          <a:xfrm>
            <a:off x="-1659468" y="4678717"/>
            <a:ext cx="8246535" cy="1185687"/>
          </a:xfrm>
          <a:prstGeom prst="rect">
            <a:avLst/>
          </a:prstGeom>
          <a:solidFill>
            <a:srgbClr val="E41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5FFD2BC-62F2-4F1E-833E-89BFB46ECEF4}"/>
              </a:ext>
            </a:extLst>
          </p:cNvPr>
          <p:cNvSpPr/>
          <p:nvPr userDrawn="1"/>
        </p:nvSpPr>
        <p:spPr>
          <a:xfrm>
            <a:off x="-2473746" y="4356496"/>
            <a:ext cx="7145867" cy="465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6DF3614-C6D5-4B1D-81F4-2AED65564BFF}"/>
              </a:ext>
            </a:extLst>
          </p:cNvPr>
          <p:cNvSpPr/>
          <p:nvPr userDrawn="1"/>
        </p:nvSpPr>
        <p:spPr>
          <a:xfrm>
            <a:off x="7191864" y="3043909"/>
            <a:ext cx="4343329" cy="2862353"/>
          </a:xfrm>
          <a:custGeom>
            <a:avLst/>
            <a:gdLst>
              <a:gd name="connsiteX0" fmla="*/ 2463262 w 4343329"/>
              <a:gd name="connsiteY0" fmla="*/ 2032818 h 2862353"/>
              <a:gd name="connsiteX1" fmla="*/ 2506501 w 4343329"/>
              <a:gd name="connsiteY1" fmla="*/ 2076056 h 2862353"/>
              <a:gd name="connsiteX2" fmla="*/ 2463262 w 4343329"/>
              <a:gd name="connsiteY2" fmla="*/ 2119295 h 2862353"/>
              <a:gd name="connsiteX3" fmla="*/ 2420024 w 4343329"/>
              <a:gd name="connsiteY3" fmla="*/ 2076056 h 2862353"/>
              <a:gd name="connsiteX4" fmla="*/ 2463262 w 4343329"/>
              <a:gd name="connsiteY4" fmla="*/ 2032818 h 2862353"/>
              <a:gd name="connsiteX5" fmla="*/ 2295114 w 4343329"/>
              <a:gd name="connsiteY5" fmla="*/ 1959153 h 2862353"/>
              <a:gd name="connsiteX6" fmla="*/ 2314331 w 4343329"/>
              <a:gd name="connsiteY6" fmla="*/ 1987178 h 2862353"/>
              <a:gd name="connsiteX7" fmla="*/ 2324740 w 4343329"/>
              <a:gd name="connsiteY7" fmla="*/ 2092871 h 2862353"/>
              <a:gd name="connsiteX8" fmla="*/ 2302320 w 4343329"/>
              <a:gd name="connsiteY8" fmla="*/ 2100078 h 2862353"/>
              <a:gd name="connsiteX9" fmla="*/ 2303121 w 4343329"/>
              <a:gd name="connsiteY9" fmla="*/ 2145718 h 2862353"/>
              <a:gd name="connsiteX10" fmla="*/ 2279900 w 4343329"/>
              <a:gd name="connsiteY10" fmla="*/ 2172942 h 2862353"/>
              <a:gd name="connsiteX11" fmla="*/ 2270292 w 4343329"/>
              <a:gd name="connsiteY11" fmla="*/ 2216181 h 2862353"/>
              <a:gd name="connsiteX12" fmla="*/ 2251075 w 4343329"/>
              <a:gd name="connsiteY12" fmla="*/ 2254615 h 2862353"/>
              <a:gd name="connsiteX13" fmla="*/ 2243868 w 4343329"/>
              <a:gd name="connsiteY13" fmla="*/ 2285842 h 2862353"/>
              <a:gd name="connsiteX14" fmla="*/ 2179011 w 4343329"/>
              <a:gd name="connsiteY14" fmla="*/ 2423565 h 2862353"/>
              <a:gd name="connsiteX15" fmla="*/ 2162997 w 4343329"/>
              <a:gd name="connsiteY15" fmla="*/ 2442782 h 2862353"/>
              <a:gd name="connsiteX16" fmla="*/ 2153388 w 4343329"/>
              <a:gd name="connsiteY16" fmla="*/ 2477212 h 2862353"/>
              <a:gd name="connsiteX17" fmla="*/ 2130968 w 4343329"/>
              <a:gd name="connsiteY17" fmla="*/ 2495628 h 2862353"/>
              <a:gd name="connsiteX18" fmla="*/ 2106947 w 4343329"/>
              <a:gd name="connsiteY18" fmla="*/ 2495628 h 2862353"/>
              <a:gd name="connsiteX19" fmla="*/ 2063709 w 4343329"/>
              <a:gd name="connsiteY19" fmla="*/ 2502835 h 2862353"/>
              <a:gd name="connsiteX20" fmla="*/ 2028477 w 4343329"/>
              <a:gd name="connsiteY20" fmla="*/ 2457194 h 2862353"/>
              <a:gd name="connsiteX21" fmla="*/ 2032481 w 4343329"/>
              <a:gd name="connsiteY21" fmla="*/ 2413956 h 2862353"/>
              <a:gd name="connsiteX22" fmla="*/ 2021271 w 4343329"/>
              <a:gd name="connsiteY22" fmla="*/ 2358707 h 2862353"/>
              <a:gd name="connsiteX23" fmla="*/ 2046093 w 4343329"/>
              <a:gd name="connsiteY23" fmla="*/ 2320273 h 2862353"/>
              <a:gd name="connsiteX24" fmla="*/ 2063709 w 4343329"/>
              <a:gd name="connsiteY24" fmla="*/ 2310664 h 2862353"/>
              <a:gd name="connsiteX25" fmla="*/ 2077320 w 4343329"/>
              <a:gd name="connsiteY25" fmla="*/ 2268227 h 2862353"/>
              <a:gd name="connsiteX26" fmla="*/ 2075719 w 4343329"/>
              <a:gd name="connsiteY26" fmla="*/ 2193761 h 2862353"/>
              <a:gd name="connsiteX27" fmla="*/ 2070114 w 4343329"/>
              <a:gd name="connsiteY27" fmla="*/ 2160932 h 2862353"/>
              <a:gd name="connsiteX28" fmla="*/ 2098139 w 4343329"/>
              <a:gd name="connsiteY28" fmla="*/ 2114491 h 2862353"/>
              <a:gd name="connsiteX29" fmla="*/ 2185416 w 4343329"/>
              <a:gd name="connsiteY29" fmla="*/ 2072053 h 2862353"/>
              <a:gd name="connsiteX30" fmla="*/ 2242267 w 4343329"/>
              <a:gd name="connsiteY30" fmla="*/ 2003993 h 2862353"/>
              <a:gd name="connsiteX31" fmla="*/ 2276697 w 4343329"/>
              <a:gd name="connsiteY31" fmla="*/ 1990381 h 2862353"/>
              <a:gd name="connsiteX32" fmla="*/ 2295114 w 4343329"/>
              <a:gd name="connsiteY32" fmla="*/ 1959153 h 2862353"/>
              <a:gd name="connsiteX33" fmla="*/ 1986040 w 4343329"/>
              <a:gd name="connsiteY33" fmla="*/ 1903903 h 2862353"/>
              <a:gd name="connsiteX34" fmla="*/ 1937197 w 4343329"/>
              <a:gd name="connsiteY34" fmla="*/ 2136909 h 2862353"/>
              <a:gd name="connsiteX35" fmla="*/ 1809884 w 4343329"/>
              <a:gd name="connsiteY35" fmla="*/ 2432371 h 2862353"/>
              <a:gd name="connsiteX36" fmla="*/ 1403924 w 4343329"/>
              <a:gd name="connsiteY36" fmla="*/ 2840733 h 2862353"/>
              <a:gd name="connsiteX37" fmla="*/ 1500810 w 4343329"/>
              <a:gd name="connsiteY37" fmla="*/ 2584506 h 2862353"/>
              <a:gd name="connsiteX38" fmla="*/ 1511219 w 4343329"/>
              <a:gd name="connsiteY38" fmla="*/ 2561286 h 2862353"/>
              <a:gd name="connsiteX39" fmla="*/ 1522429 w 4343329"/>
              <a:gd name="connsiteY39" fmla="*/ 2538065 h 2862353"/>
              <a:gd name="connsiteX40" fmla="*/ 1544849 w 4343329"/>
              <a:gd name="connsiteY40" fmla="*/ 2492425 h 2862353"/>
              <a:gd name="connsiteX41" fmla="*/ 1568070 w 4343329"/>
              <a:gd name="connsiteY41" fmla="*/ 2447585 h 2862353"/>
              <a:gd name="connsiteX42" fmla="*/ 1592891 w 4343329"/>
              <a:gd name="connsiteY42" fmla="*/ 2403546 h 2862353"/>
              <a:gd name="connsiteX43" fmla="*/ 1604902 w 4343329"/>
              <a:gd name="connsiteY43" fmla="*/ 2381126 h 2862353"/>
              <a:gd name="connsiteX44" fmla="*/ 1617713 w 4343329"/>
              <a:gd name="connsiteY44" fmla="*/ 2359507 h 2862353"/>
              <a:gd name="connsiteX45" fmla="*/ 1644137 w 4343329"/>
              <a:gd name="connsiteY45" fmla="*/ 2316268 h 2862353"/>
              <a:gd name="connsiteX46" fmla="*/ 1671361 w 4343329"/>
              <a:gd name="connsiteY46" fmla="*/ 2273831 h 2862353"/>
              <a:gd name="connsiteX47" fmla="*/ 1700187 w 4343329"/>
              <a:gd name="connsiteY47" fmla="*/ 2232194 h 2862353"/>
              <a:gd name="connsiteX48" fmla="*/ 1963620 w 4343329"/>
              <a:gd name="connsiteY48" fmla="*/ 1924721 h 2862353"/>
              <a:gd name="connsiteX49" fmla="*/ 1986040 w 4343329"/>
              <a:gd name="connsiteY49" fmla="*/ 1903903 h 2862353"/>
              <a:gd name="connsiteX50" fmla="*/ 1758638 w 4343329"/>
              <a:gd name="connsiteY50" fmla="*/ 1806217 h 2862353"/>
              <a:gd name="connsiteX51" fmla="*/ 1953210 w 4343329"/>
              <a:gd name="connsiteY51" fmla="*/ 1806217 h 2862353"/>
              <a:gd name="connsiteX52" fmla="*/ 1967623 w 4343329"/>
              <a:gd name="connsiteY52" fmla="*/ 1850256 h 2862353"/>
              <a:gd name="connsiteX53" fmla="*/ 1925185 w 4343329"/>
              <a:gd name="connsiteY53" fmla="*/ 1884686 h 2862353"/>
              <a:gd name="connsiteX54" fmla="*/ 1640933 w 4343329"/>
              <a:gd name="connsiteY54" fmla="*/ 2192960 h 2862353"/>
              <a:gd name="connsiteX55" fmla="*/ 1583282 w 4343329"/>
              <a:gd name="connsiteY55" fmla="*/ 2281038 h 2862353"/>
              <a:gd name="connsiteX56" fmla="*/ 1556859 w 4343329"/>
              <a:gd name="connsiteY56" fmla="*/ 2326678 h 2862353"/>
              <a:gd name="connsiteX57" fmla="*/ 1544048 w 4343329"/>
              <a:gd name="connsiteY57" fmla="*/ 2349899 h 2862353"/>
              <a:gd name="connsiteX58" fmla="*/ 1532037 w 4343329"/>
              <a:gd name="connsiteY58" fmla="*/ 2373119 h 2862353"/>
              <a:gd name="connsiteX59" fmla="*/ 1447962 w 4343329"/>
              <a:gd name="connsiteY59" fmla="*/ 2566091 h 2862353"/>
              <a:gd name="connsiteX60" fmla="*/ 1376699 w 4343329"/>
              <a:gd name="connsiteY60" fmla="*/ 2848741 h 2862353"/>
              <a:gd name="connsiteX61" fmla="*/ 1291023 w 4343329"/>
              <a:gd name="connsiteY61" fmla="*/ 2862353 h 2862353"/>
              <a:gd name="connsiteX62" fmla="*/ 1195739 w 4343329"/>
              <a:gd name="connsiteY62" fmla="*/ 2706215 h 2862353"/>
              <a:gd name="connsiteX63" fmla="*/ 1175721 w 4343329"/>
              <a:gd name="connsiteY63" fmla="*/ 2671784 h 2862353"/>
              <a:gd name="connsiteX64" fmla="*/ 1207749 w 4343329"/>
              <a:gd name="connsiteY64" fmla="*/ 2586909 h 2862353"/>
              <a:gd name="connsiteX65" fmla="*/ 1213354 w 4343329"/>
              <a:gd name="connsiteY65" fmla="*/ 2572496 h 2862353"/>
              <a:gd name="connsiteX66" fmla="*/ 1219760 w 4343329"/>
              <a:gd name="connsiteY66" fmla="*/ 2558083 h 2862353"/>
              <a:gd name="connsiteX67" fmla="*/ 1232571 w 4343329"/>
              <a:gd name="connsiteY67" fmla="*/ 2529258 h 2862353"/>
              <a:gd name="connsiteX68" fmla="*/ 1258995 w 4343329"/>
              <a:gd name="connsiteY68" fmla="*/ 2472407 h 2862353"/>
              <a:gd name="connsiteX69" fmla="*/ 1287020 w 4343329"/>
              <a:gd name="connsiteY69" fmla="*/ 2416358 h 2862353"/>
              <a:gd name="connsiteX70" fmla="*/ 1317447 w 4343329"/>
              <a:gd name="connsiteY70" fmla="*/ 2361910 h 2862353"/>
              <a:gd name="connsiteX71" fmla="*/ 1453567 w 4343329"/>
              <a:gd name="connsiteY71" fmla="*/ 2153725 h 2862353"/>
              <a:gd name="connsiteX72" fmla="*/ 1471984 w 4343329"/>
              <a:gd name="connsiteY72" fmla="*/ 2128903 h 2862353"/>
              <a:gd name="connsiteX73" fmla="*/ 1491201 w 4343329"/>
              <a:gd name="connsiteY73" fmla="*/ 2104081 h 2862353"/>
              <a:gd name="connsiteX74" fmla="*/ 1529635 w 4343329"/>
              <a:gd name="connsiteY74" fmla="*/ 2055238 h 2862353"/>
              <a:gd name="connsiteX75" fmla="*/ 1569670 w 4343329"/>
              <a:gd name="connsiteY75" fmla="*/ 2007195 h 2862353"/>
              <a:gd name="connsiteX76" fmla="*/ 1611307 w 4343329"/>
              <a:gd name="connsiteY76" fmla="*/ 1960754 h 2862353"/>
              <a:gd name="connsiteX77" fmla="*/ 1621716 w 4343329"/>
              <a:gd name="connsiteY77" fmla="*/ 1948743 h 2862353"/>
              <a:gd name="connsiteX78" fmla="*/ 1632126 w 4343329"/>
              <a:gd name="connsiteY78" fmla="*/ 1937533 h 2862353"/>
              <a:gd name="connsiteX79" fmla="*/ 1653745 w 4343329"/>
              <a:gd name="connsiteY79" fmla="*/ 1915113 h 2862353"/>
              <a:gd name="connsiteX80" fmla="*/ 1675364 w 4343329"/>
              <a:gd name="connsiteY80" fmla="*/ 1892694 h 2862353"/>
              <a:gd name="connsiteX81" fmla="*/ 1696983 w 4343329"/>
              <a:gd name="connsiteY81" fmla="*/ 1870274 h 2862353"/>
              <a:gd name="connsiteX82" fmla="*/ 1718602 w 4343329"/>
              <a:gd name="connsiteY82" fmla="*/ 1847854 h 2862353"/>
              <a:gd name="connsiteX83" fmla="*/ 1729812 w 4343329"/>
              <a:gd name="connsiteY83" fmla="*/ 1836644 h 2862353"/>
              <a:gd name="connsiteX84" fmla="*/ 1741022 w 4343329"/>
              <a:gd name="connsiteY84" fmla="*/ 1825434 h 2862353"/>
              <a:gd name="connsiteX85" fmla="*/ 1114867 w 4343329"/>
              <a:gd name="connsiteY85" fmla="*/ 1607641 h 2862353"/>
              <a:gd name="connsiteX86" fmla="*/ 1171718 w 4343329"/>
              <a:gd name="connsiteY86" fmla="*/ 1806217 h 2862353"/>
              <a:gd name="connsiteX87" fmla="*/ 1258195 w 4343329"/>
              <a:gd name="connsiteY87" fmla="*/ 1806217 h 2862353"/>
              <a:gd name="connsiteX88" fmla="*/ 1127679 w 4343329"/>
              <a:gd name="connsiteY88" fmla="*/ 2037622 h 2862353"/>
              <a:gd name="connsiteX89" fmla="*/ 1039601 w 4343329"/>
              <a:gd name="connsiteY89" fmla="*/ 2273832 h 2862353"/>
              <a:gd name="connsiteX90" fmla="*/ 1002768 w 4343329"/>
              <a:gd name="connsiteY90" fmla="*/ 2200166 h 2862353"/>
              <a:gd name="connsiteX91" fmla="*/ 1017181 w 4343329"/>
              <a:gd name="connsiteY91" fmla="*/ 1743762 h 2862353"/>
              <a:gd name="connsiteX92" fmla="*/ 1070828 w 4343329"/>
              <a:gd name="connsiteY92" fmla="*/ 1665292 h 2862353"/>
              <a:gd name="connsiteX93" fmla="*/ 1081238 w 4343329"/>
              <a:gd name="connsiteY93" fmla="*/ 1650879 h 2862353"/>
              <a:gd name="connsiteX94" fmla="*/ 1092447 w 4343329"/>
              <a:gd name="connsiteY94" fmla="*/ 1636466 h 2862353"/>
              <a:gd name="connsiteX95" fmla="*/ 1608906 w 4343329"/>
              <a:gd name="connsiteY95" fmla="*/ 1587623 h 2862353"/>
              <a:gd name="connsiteX96" fmla="*/ 1658550 w 4343329"/>
              <a:gd name="connsiteY96" fmla="*/ 1807017 h 2862353"/>
              <a:gd name="connsiteX97" fmla="*/ 1662554 w 4343329"/>
              <a:gd name="connsiteY97" fmla="*/ 1807017 h 2862353"/>
              <a:gd name="connsiteX98" fmla="*/ 1647340 w 4343329"/>
              <a:gd name="connsiteY98" fmla="*/ 1822231 h 2862353"/>
              <a:gd name="connsiteX99" fmla="*/ 1624920 w 4343329"/>
              <a:gd name="connsiteY99" fmla="*/ 1844651 h 2862353"/>
              <a:gd name="connsiteX100" fmla="*/ 1602500 w 4343329"/>
              <a:gd name="connsiteY100" fmla="*/ 1867871 h 2862353"/>
              <a:gd name="connsiteX101" fmla="*/ 1580080 w 4343329"/>
              <a:gd name="connsiteY101" fmla="*/ 1891092 h 2862353"/>
              <a:gd name="connsiteX102" fmla="*/ 1568870 w 4343329"/>
              <a:gd name="connsiteY102" fmla="*/ 1903103 h 2862353"/>
              <a:gd name="connsiteX103" fmla="*/ 1558461 w 4343329"/>
              <a:gd name="connsiteY103" fmla="*/ 1915113 h 2862353"/>
              <a:gd name="connsiteX104" fmla="*/ 1399120 w 4343329"/>
              <a:gd name="connsiteY104" fmla="*/ 2116091 h 2862353"/>
              <a:gd name="connsiteX105" fmla="*/ 1363088 w 4343329"/>
              <a:gd name="connsiteY105" fmla="*/ 2169739 h 2862353"/>
              <a:gd name="connsiteX106" fmla="*/ 1329458 w 4343329"/>
              <a:gd name="connsiteY106" fmla="*/ 2224187 h 2862353"/>
              <a:gd name="connsiteX107" fmla="*/ 1321451 w 4343329"/>
              <a:gd name="connsiteY107" fmla="*/ 2237799 h 2862353"/>
              <a:gd name="connsiteX108" fmla="*/ 1313444 w 4343329"/>
              <a:gd name="connsiteY108" fmla="*/ 2252212 h 2862353"/>
              <a:gd name="connsiteX109" fmla="*/ 1298231 w 4343329"/>
              <a:gd name="connsiteY109" fmla="*/ 2280237 h 2862353"/>
              <a:gd name="connsiteX110" fmla="*/ 1283017 w 4343329"/>
              <a:gd name="connsiteY110" fmla="*/ 2308262 h 2862353"/>
              <a:gd name="connsiteX111" fmla="*/ 1275811 w 4343329"/>
              <a:gd name="connsiteY111" fmla="*/ 2322675 h 2862353"/>
              <a:gd name="connsiteX112" fmla="*/ 1268604 w 4343329"/>
              <a:gd name="connsiteY112" fmla="*/ 2337087 h 2862353"/>
              <a:gd name="connsiteX113" fmla="*/ 1241380 w 4343329"/>
              <a:gd name="connsiteY113" fmla="*/ 2394739 h 2862353"/>
              <a:gd name="connsiteX114" fmla="*/ 1217359 w 4343329"/>
              <a:gd name="connsiteY114" fmla="*/ 2453991 h 2862353"/>
              <a:gd name="connsiteX115" fmla="*/ 1195740 w 4343329"/>
              <a:gd name="connsiteY115" fmla="*/ 2514044 h 2862353"/>
              <a:gd name="connsiteX116" fmla="*/ 1185330 w 4343329"/>
              <a:gd name="connsiteY116" fmla="*/ 2544471 h 2862353"/>
              <a:gd name="connsiteX117" fmla="*/ 1180526 w 4343329"/>
              <a:gd name="connsiteY117" fmla="*/ 2559685 h 2862353"/>
              <a:gd name="connsiteX118" fmla="*/ 1176523 w 4343329"/>
              <a:gd name="connsiteY118" fmla="*/ 2574898 h 2862353"/>
              <a:gd name="connsiteX119" fmla="*/ 1158907 w 4343329"/>
              <a:gd name="connsiteY119" fmla="*/ 2637354 h 2862353"/>
              <a:gd name="connsiteX120" fmla="*/ 1059619 w 4343329"/>
              <a:gd name="connsiteY120" fmla="*/ 2328279 h 2862353"/>
              <a:gd name="connsiteX121" fmla="*/ 1175722 w 4343329"/>
              <a:gd name="connsiteY121" fmla="*/ 2062444 h 2862353"/>
              <a:gd name="connsiteX122" fmla="*/ 1339067 w 4343329"/>
              <a:gd name="connsiteY122" fmla="*/ 1807017 h 2862353"/>
              <a:gd name="connsiteX123" fmla="*/ 1559262 w 4343329"/>
              <a:gd name="connsiteY123" fmla="*/ 1807017 h 2862353"/>
              <a:gd name="connsiteX124" fmla="*/ 2685059 w 4343329"/>
              <a:gd name="connsiteY124" fmla="*/ 878194 h 2862353"/>
              <a:gd name="connsiteX125" fmla="*/ 2950895 w 4343329"/>
              <a:gd name="connsiteY125" fmla="*/ 878194 h 2862353"/>
              <a:gd name="connsiteX126" fmla="*/ 3247157 w 4343329"/>
              <a:gd name="connsiteY126" fmla="*/ 1281752 h 2862353"/>
              <a:gd name="connsiteX127" fmla="*/ 3247157 w 4343329"/>
              <a:gd name="connsiteY127" fmla="*/ 878194 h 2862353"/>
              <a:gd name="connsiteX128" fmla="*/ 3505787 w 4343329"/>
              <a:gd name="connsiteY128" fmla="*/ 878194 h 2862353"/>
              <a:gd name="connsiteX129" fmla="*/ 3505787 w 4343329"/>
              <a:gd name="connsiteY129" fmla="*/ 1730950 h 2862353"/>
              <a:gd name="connsiteX130" fmla="*/ 3257567 w 4343329"/>
              <a:gd name="connsiteY130" fmla="*/ 1730950 h 2862353"/>
              <a:gd name="connsiteX131" fmla="*/ 2942888 w 4343329"/>
              <a:gd name="connsiteY131" fmla="*/ 1298567 h 2862353"/>
              <a:gd name="connsiteX132" fmla="*/ 2942888 w 4343329"/>
              <a:gd name="connsiteY132" fmla="*/ 1730950 h 2862353"/>
              <a:gd name="connsiteX133" fmla="*/ 2685059 w 4343329"/>
              <a:gd name="connsiteY133" fmla="*/ 1730950 h 2862353"/>
              <a:gd name="connsiteX134" fmla="*/ 2288708 w 4343329"/>
              <a:gd name="connsiteY134" fmla="*/ 878194 h 2862353"/>
              <a:gd name="connsiteX135" fmla="*/ 2547337 w 4343329"/>
              <a:gd name="connsiteY135" fmla="*/ 878194 h 2862353"/>
              <a:gd name="connsiteX136" fmla="*/ 2547337 w 4343329"/>
              <a:gd name="connsiteY136" fmla="*/ 1730950 h 2862353"/>
              <a:gd name="connsiteX137" fmla="*/ 2288708 w 4343329"/>
              <a:gd name="connsiteY137" fmla="*/ 1730950 h 2862353"/>
              <a:gd name="connsiteX138" fmla="*/ 984352 w 4343329"/>
              <a:gd name="connsiteY138" fmla="*/ 878194 h 2862353"/>
              <a:gd name="connsiteX139" fmla="*/ 1273408 w 4343329"/>
              <a:gd name="connsiteY139" fmla="*/ 878194 h 2862353"/>
              <a:gd name="connsiteX140" fmla="*/ 1383105 w 4343329"/>
              <a:gd name="connsiteY140" fmla="*/ 1399456 h 2862353"/>
              <a:gd name="connsiteX141" fmla="*/ 1512820 w 4343329"/>
              <a:gd name="connsiteY141" fmla="*/ 878194 h 2862353"/>
              <a:gd name="connsiteX142" fmla="*/ 1706592 w 4343329"/>
              <a:gd name="connsiteY142" fmla="*/ 878194 h 2862353"/>
              <a:gd name="connsiteX143" fmla="*/ 1835506 w 4343329"/>
              <a:gd name="connsiteY143" fmla="*/ 1399456 h 2862353"/>
              <a:gd name="connsiteX144" fmla="*/ 1944403 w 4343329"/>
              <a:gd name="connsiteY144" fmla="*/ 878194 h 2862353"/>
              <a:gd name="connsiteX145" fmla="*/ 2235061 w 4343329"/>
              <a:gd name="connsiteY145" fmla="*/ 878194 h 2862353"/>
              <a:gd name="connsiteX146" fmla="*/ 1990844 w 4343329"/>
              <a:gd name="connsiteY146" fmla="*/ 1730950 h 2862353"/>
              <a:gd name="connsiteX147" fmla="*/ 1719404 w 4343329"/>
              <a:gd name="connsiteY147" fmla="*/ 1730950 h 2862353"/>
              <a:gd name="connsiteX148" fmla="*/ 1609706 w 4343329"/>
              <a:gd name="connsiteY148" fmla="*/ 1247321 h 2862353"/>
              <a:gd name="connsiteX149" fmla="*/ 1500009 w 4343329"/>
              <a:gd name="connsiteY149" fmla="*/ 1730950 h 2862353"/>
              <a:gd name="connsiteX150" fmla="*/ 1228568 w 4343329"/>
              <a:gd name="connsiteY150" fmla="*/ 1730950 h 2862353"/>
              <a:gd name="connsiteX151" fmla="*/ 3960590 w 4343329"/>
              <a:gd name="connsiteY151" fmla="*/ 866183 h 2862353"/>
              <a:gd name="connsiteX152" fmla="*/ 4322510 w 4343329"/>
              <a:gd name="connsiteY152" fmla="*/ 984688 h 2862353"/>
              <a:gd name="connsiteX153" fmla="*/ 4184788 w 4343329"/>
              <a:gd name="connsiteY153" fmla="*/ 1167250 h 2862353"/>
              <a:gd name="connsiteX154" fmla="*/ 3934166 w 4343329"/>
              <a:gd name="connsiteY154" fmla="*/ 1083175 h 2862353"/>
              <a:gd name="connsiteX155" fmla="*/ 3869309 w 4343329"/>
              <a:gd name="connsiteY155" fmla="*/ 1121610 h 2862353"/>
              <a:gd name="connsiteX156" fmla="*/ 3904540 w 4343329"/>
              <a:gd name="connsiteY156" fmla="*/ 1152036 h 2862353"/>
              <a:gd name="connsiteX157" fmla="*/ 3991817 w 4343329"/>
              <a:gd name="connsiteY157" fmla="*/ 1172054 h 2862353"/>
              <a:gd name="connsiteX158" fmla="*/ 4106319 w 4343329"/>
              <a:gd name="connsiteY158" fmla="*/ 1197677 h 2862353"/>
              <a:gd name="connsiteX159" fmla="*/ 4220820 w 4343329"/>
              <a:gd name="connsiteY159" fmla="*/ 1241716 h 2862353"/>
              <a:gd name="connsiteX160" fmla="*/ 4308098 w 4343329"/>
              <a:gd name="connsiteY160" fmla="*/ 1321787 h 2862353"/>
              <a:gd name="connsiteX161" fmla="*/ 4343329 w 4343329"/>
              <a:gd name="connsiteY161" fmla="*/ 1449901 h 2862353"/>
              <a:gd name="connsiteX162" fmla="*/ 4245642 w 4343329"/>
              <a:gd name="connsiteY162" fmla="*/ 1668494 h 2862353"/>
              <a:gd name="connsiteX163" fmla="*/ 3975002 w 4343329"/>
              <a:gd name="connsiteY163" fmla="*/ 1746964 h 2862353"/>
              <a:gd name="connsiteX164" fmla="*/ 3578651 w 4343329"/>
              <a:gd name="connsiteY164" fmla="*/ 1611644 h 2862353"/>
              <a:gd name="connsiteX165" fmla="*/ 3713170 w 4343329"/>
              <a:gd name="connsiteY165" fmla="*/ 1419474 h 2862353"/>
              <a:gd name="connsiteX166" fmla="*/ 3987814 w 4343329"/>
              <a:gd name="connsiteY166" fmla="*/ 1529171 h 2862353"/>
              <a:gd name="connsiteX167" fmla="*/ 4082297 w 4343329"/>
              <a:gd name="connsiteY167" fmla="*/ 1483530 h 2862353"/>
              <a:gd name="connsiteX168" fmla="*/ 4033454 w 4343329"/>
              <a:gd name="connsiteY168" fmla="*/ 1449901 h 2862353"/>
              <a:gd name="connsiteX169" fmla="*/ 3914148 w 4343329"/>
              <a:gd name="connsiteY169" fmla="*/ 1425879 h 2862353"/>
              <a:gd name="connsiteX170" fmla="*/ 3774825 w 4343329"/>
              <a:gd name="connsiteY170" fmla="*/ 1389047 h 2862353"/>
              <a:gd name="connsiteX171" fmla="*/ 3655519 w 4343329"/>
              <a:gd name="connsiteY171" fmla="*/ 1303371 h 2862353"/>
              <a:gd name="connsiteX172" fmla="*/ 3606676 w 4343329"/>
              <a:gd name="connsiteY172" fmla="*/ 1148834 h 2862353"/>
              <a:gd name="connsiteX173" fmla="*/ 3700359 w 4343329"/>
              <a:gd name="connsiteY173" fmla="*/ 949457 h 2862353"/>
              <a:gd name="connsiteX174" fmla="*/ 3960590 w 4343329"/>
              <a:gd name="connsiteY174" fmla="*/ 866183 h 2862353"/>
              <a:gd name="connsiteX175" fmla="*/ 29906 w 4343329"/>
              <a:gd name="connsiteY175" fmla="*/ 837358 h 2862353"/>
              <a:gd name="connsiteX176" fmla="*/ 65938 w 4343329"/>
              <a:gd name="connsiteY176" fmla="*/ 867785 h 2862353"/>
              <a:gd name="connsiteX177" fmla="*/ 193251 w 4343329"/>
              <a:gd name="connsiteY177" fmla="*/ 956664 h 2862353"/>
              <a:gd name="connsiteX178" fmla="*/ 331774 w 4343329"/>
              <a:gd name="connsiteY178" fmla="*/ 1028728 h 2862353"/>
              <a:gd name="connsiteX179" fmla="*/ 479104 w 4343329"/>
              <a:gd name="connsiteY179" fmla="*/ 1083176 h 2862353"/>
              <a:gd name="connsiteX180" fmla="*/ 555172 w 4343329"/>
              <a:gd name="connsiteY180" fmla="*/ 1103194 h 2862353"/>
              <a:gd name="connsiteX181" fmla="*/ 593606 w 4343329"/>
              <a:gd name="connsiteY181" fmla="*/ 1111201 h 2862353"/>
              <a:gd name="connsiteX182" fmla="*/ 612823 w 4343329"/>
              <a:gd name="connsiteY182" fmla="*/ 1115204 h 2862353"/>
              <a:gd name="connsiteX183" fmla="*/ 632040 w 4343329"/>
              <a:gd name="connsiteY183" fmla="*/ 1118407 h 2862353"/>
              <a:gd name="connsiteX184" fmla="*/ 788979 w 4343329"/>
              <a:gd name="connsiteY184" fmla="*/ 1132019 h 2862353"/>
              <a:gd name="connsiteX185" fmla="*/ 828214 w 4343329"/>
              <a:gd name="connsiteY185" fmla="*/ 1132019 h 2862353"/>
              <a:gd name="connsiteX186" fmla="*/ 848232 w 4343329"/>
              <a:gd name="connsiteY186" fmla="*/ 1132019 h 2862353"/>
              <a:gd name="connsiteX187" fmla="*/ 868249 w 4343329"/>
              <a:gd name="connsiteY187" fmla="*/ 1131219 h 2862353"/>
              <a:gd name="connsiteX188" fmla="*/ 907484 w 4343329"/>
              <a:gd name="connsiteY188" fmla="*/ 1128816 h 2862353"/>
              <a:gd name="connsiteX189" fmla="*/ 946719 w 4343329"/>
              <a:gd name="connsiteY189" fmla="*/ 1124813 h 2862353"/>
              <a:gd name="connsiteX190" fmla="*/ 976345 w 4343329"/>
              <a:gd name="connsiteY190" fmla="*/ 1121610 h 2862353"/>
              <a:gd name="connsiteX191" fmla="*/ 1092448 w 4343329"/>
              <a:gd name="connsiteY191" fmla="*/ 1528371 h 2862353"/>
              <a:gd name="connsiteX192" fmla="*/ 1062021 w 4343329"/>
              <a:gd name="connsiteY192" fmla="*/ 1565203 h 2862353"/>
              <a:gd name="connsiteX193" fmla="*/ 1038800 w 4343329"/>
              <a:gd name="connsiteY193" fmla="*/ 1595630 h 2862353"/>
              <a:gd name="connsiteX194" fmla="*/ 1027591 w 4343329"/>
              <a:gd name="connsiteY194" fmla="*/ 1610844 h 2862353"/>
              <a:gd name="connsiteX195" fmla="*/ 1016381 w 4343329"/>
              <a:gd name="connsiteY195" fmla="*/ 1626858 h 2862353"/>
              <a:gd name="connsiteX196" fmla="*/ 988356 w 4343329"/>
              <a:gd name="connsiteY196" fmla="*/ 1668495 h 2862353"/>
              <a:gd name="connsiteX197" fmla="*/ 908285 w 4343329"/>
              <a:gd name="connsiteY197" fmla="*/ 1498744 h 2862353"/>
              <a:gd name="connsiteX198" fmla="*/ 744139 w 4343329"/>
              <a:gd name="connsiteY198" fmla="*/ 1247321 h 2862353"/>
              <a:gd name="connsiteX199" fmla="*/ 479104 w 4343329"/>
              <a:gd name="connsiteY199" fmla="*/ 1295364 h 2862353"/>
              <a:gd name="connsiteX200" fmla="*/ 291738 w 4343329"/>
              <a:gd name="connsiteY200" fmla="*/ 1298567 h 2862353"/>
              <a:gd name="connsiteX201" fmla="*/ 13091 w 4343329"/>
              <a:gd name="connsiteY201" fmla="*/ 872589 h 2862353"/>
              <a:gd name="connsiteX202" fmla="*/ 29906 w 4343329"/>
              <a:gd name="connsiteY202" fmla="*/ 837358 h 2862353"/>
              <a:gd name="connsiteX203" fmla="*/ 1990844 w 4343329"/>
              <a:gd name="connsiteY203" fmla="*/ 697234 h 2862353"/>
              <a:gd name="connsiteX204" fmla="*/ 2038086 w 4343329"/>
              <a:gd name="connsiteY204" fmla="*/ 728462 h 2862353"/>
              <a:gd name="connsiteX205" fmla="*/ 2050097 w 4343329"/>
              <a:gd name="connsiteY205" fmla="*/ 736469 h 2862353"/>
              <a:gd name="connsiteX206" fmla="*/ 2042890 w 4343329"/>
              <a:gd name="connsiteY206" fmla="*/ 736469 h 2862353"/>
              <a:gd name="connsiteX207" fmla="*/ 1996449 w 4343329"/>
              <a:gd name="connsiteY207" fmla="*/ 730063 h 2862353"/>
              <a:gd name="connsiteX208" fmla="*/ 1990844 w 4343329"/>
              <a:gd name="connsiteY208" fmla="*/ 697234 h 2862353"/>
              <a:gd name="connsiteX209" fmla="*/ 1998851 w 4343329"/>
              <a:gd name="connsiteY209" fmla="*/ 662803 h 2862353"/>
              <a:gd name="connsiteX210" fmla="*/ 2047694 w 4343329"/>
              <a:gd name="connsiteY210" fmla="*/ 694831 h 2862353"/>
              <a:gd name="connsiteX211" fmla="*/ 2093335 w 4343329"/>
              <a:gd name="connsiteY211" fmla="*/ 725258 h 2862353"/>
              <a:gd name="connsiteX212" fmla="*/ 2089331 w 4343329"/>
              <a:gd name="connsiteY212" fmla="*/ 730063 h 2862353"/>
              <a:gd name="connsiteX213" fmla="*/ 2056502 w 4343329"/>
              <a:gd name="connsiteY213" fmla="*/ 736468 h 2862353"/>
              <a:gd name="connsiteX214" fmla="*/ 1993246 w 4343329"/>
              <a:gd name="connsiteY214" fmla="*/ 690027 h 2862353"/>
              <a:gd name="connsiteX215" fmla="*/ 1998851 w 4343329"/>
              <a:gd name="connsiteY215" fmla="*/ 662803 h 2862353"/>
              <a:gd name="connsiteX216" fmla="*/ 1996449 w 4343329"/>
              <a:gd name="connsiteY216" fmla="*/ 620366 h 2862353"/>
              <a:gd name="connsiteX217" fmla="*/ 2048495 w 4343329"/>
              <a:gd name="connsiteY217" fmla="*/ 653996 h 2862353"/>
              <a:gd name="connsiteX218" fmla="*/ 2090933 w 4343329"/>
              <a:gd name="connsiteY218" fmla="*/ 682821 h 2862353"/>
              <a:gd name="connsiteX219" fmla="*/ 2093335 w 4343329"/>
              <a:gd name="connsiteY219" fmla="*/ 691629 h 2862353"/>
              <a:gd name="connsiteX220" fmla="*/ 2094936 w 4343329"/>
              <a:gd name="connsiteY220" fmla="*/ 721255 h 2862353"/>
              <a:gd name="connsiteX221" fmla="*/ 1998851 w 4343329"/>
              <a:gd name="connsiteY221" fmla="*/ 653195 h 2862353"/>
              <a:gd name="connsiteX222" fmla="*/ 1998851 w 4343329"/>
              <a:gd name="connsiteY222" fmla="*/ 651594 h 2862353"/>
              <a:gd name="connsiteX223" fmla="*/ 1996449 w 4343329"/>
              <a:gd name="connsiteY223" fmla="*/ 620366 h 2862353"/>
              <a:gd name="connsiteX224" fmla="*/ 1990043 w 4343329"/>
              <a:gd name="connsiteY224" fmla="*/ 572323 h 2862353"/>
              <a:gd name="connsiteX225" fmla="*/ 2072516 w 4343329"/>
              <a:gd name="connsiteY225" fmla="*/ 626771 h 2862353"/>
              <a:gd name="connsiteX226" fmla="*/ 2088530 w 4343329"/>
              <a:gd name="connsiteY226" fmla="*/ 637180 h 2862353"/>
              <a:gd name="connsiteX227" fmla="*/ 2087730 w 4343329"/>
              <a:gd name="connsiteY227" fmla="*/ 651593 h 2862353"/>
              <a:gd name="connsiteX228" fmla="*/ 2090132 w 4343329"/>
              <a:gd name="connsiteY228" fmla="*/ 676415 h 2862353"/>
              <a:gd name="connsiteX229" fmla="*/ 1995648 w 4343329"/>
              <a:gd name="connsiteY229" fmla="*/ 609156 h 2862353"/>
              <a:gd name="connsiteX230" fmla="*/ 1990844 w 4343329"/>
              <a:gd name="connsiteY230" fmla="*/ 577127 h 2862353"/>
              <a:gd name="connsiteX231" fmla="*/ 1990043 w 4343329"/>
              <a:gd name="connsiteY231" fmla="*/ 572323 h 2862353"/>
              <a:gd name="connsiteX232" fmla="*/ 1990844 w 4343329"/>
              <a:gd name="connsiteY232" fmla="*/ 537092 h 2862353"/>
              <a:gd name="connsiteX233" fmla="*/ 2062107 w 4343329"/>
              <a:gd name="connsiteY233" fmla="*/ 584334 h 2862353"/>
              <a:gd name="connsiteX234" fmla="*/ 2091733 w 4343329"/>
              <a:gd name="connsiteY234" fmla="*/ 604352 h 2862353"/>
              <a:gd name="connsiteX235" fmla="*/ 2088530 w 4343329"/>
              <a:gd name="connsiteY235" fmla="*/ 633177 h 2862353"/>
              <a:gd name="connsiteX236" fmla="*/ 1990844 w 4343329"/>
              <a:gd name="connsiteY236" fmla="*/ 556309 h 2862353"/>
              <a:gd name="connsiteX237" fmla="*/ 1990844 w 4343329"/>
              <a:gd name="connsiteY237" fmla="*/ 537092 h 2862353"/>
              <a:gd name="connsiteX238" fmla="*/ 73944 w 4343329"/>
              <a:gd name="connsiteY238" fmla="*/ 505864 h 2862353"/>
              <a:gd name="connsiteX239" fmla="*/ 136400 w 4343329"/>
              <a:gd name="connsiteY239" fmla="*/ 560312 h 2862353"/>
              <a:gd name="connsiteX240" fmla="*/ 257307 w 4343329"/>
              <a:gd name="connsiteY240" fmla="*/ 645187 h 2862353"/>
              <a:gd name="connsiteX241" fmla="*/ 527146 w 4343329"/>
              <a:gd name="connsiteY241" fmla="*/ 770899 h 2862353"/>
              <a:gd name="connsiteX242" fmla="*/ 563178 w 4343329"/>
              <a:gd name="connsiteY242" fmla="*/ 781308 h 2862353"/>
              <a:gd name="connsiteX243" fmla="*/ 580794 w 4343329"/>
              <a:gd name="connsiteY243" fmla="*/ 786913 h 2862353"/>
              <a:gd name="connsiteX244" fmla="*/ 599210 w 4343329"/>
              <a:gd name="connsiteY244" fmla="*/ 791717 h 2862353"/>
              <a:gd name="connsiteX245" fmla="*/ 636043 w 4343329"/>
              <a:gd name="connsiteY245" fmla="*/ 800525 h 2862353"/>
              <a:gd name="connsiteX246" fmla="*/ 672875 w 4343329"/>
              <a:gd name="connsiteY246" fmla="*/ 807732 h 2862353"/>
              <a:gd name="connsiteX247" fmla="*/ 691292 w 4343329"/>
              <a:gd name="connsiteY247" fmla="*/ 810934 h 2862353"/>
              <a:gd name="connsiteX248" fmla="*/ 709708 w 4343329"/>
              <a:gd name="connsiteY248" fmla="*/ 814137 h 2862353"/>
              <a:gd name="connsiteX249" fmla="*/ 746541 w 4343329"/>
              <a:gd name="connsiteY249" fmla="*/ 819742 h 2862353"/>
              <a:gd name="connsiteX250" fmla="*/ 784174 w 4343329"/>
              <a:gd name="connsiteY250" fmla="*/ 823746 h 2862353"/>
              <a:gd name="connsiteX251" fmla="*/ 802590 w 4343329"/>
              <a:gd name="connsiteY251" fmla="*/ 825347 h 2862353"/>
              <a:gd name="connsiteX252" fmla="*/ 821007 w 4343329"/>
              <a:gd name="connsiteY252" fmla="*/ 826148 h 2862353"/>
              <a:gd name="connsiteX253" fmla="*/ 891469 w 4343329"/>
              <a:gd name="connsiteY253" fmla="*/ 827749 h 2862353"/>
              <a:gd name="connsiteX254" fmla="*/ 956327 w 4343329"/>
              <a:gd name="connsiteY254" fmla="*/ 1054350 h 2862353"/>
              <a:gd name="connsiteX255" fmla="*/ 937910 w 4343329"/>
              <a:gd name="connsiteY255" fmla="*/ 1056752 h 2862353"/>
              <a:gd name="connsiteX256" fmla="*/ 901078 w 4343329"/>
              <a:gd name="connsiteY256" fmla="*/ 1061557 h 2862353"/>
              <a:gd name="connsiteX257" fmla="*/ 864245 w 4343329"/>
              <a:gd name="connsiteY257" fmla="*/ 1063959 h 2862353"/>
              <a:gd name="connsiteX258" fmla="*/ 845829 w 4343329"/>
              <a:gd name="connsiteY258" fmla="*/ 1065560 h 2862353"/>
              <a:gd name="connsiteX259" fmla="*/ 827412 w 4343329"/>
              <a:gd name="connsiteY259" fmla="*/ 1066361 h 2862353"/>
              <a:gd name="connsiteX260" fmla="*/ 789779 w 4343329"/>
              <a:gd name="connsiteY260" fmla="*/ 1067162 h 2862353"/>
              <a:gd name="connsiteX261" fmla="*/ 640847 w 4343329"/>
              <a:gd name="connsiteY261" fmla="*/ 1058354 h 2862353"/>
              <a:gd name="connsiteX262" fmla="*/ 622431 w 4343329"/>
              <a:gd name="connsiteY262" fmla="*/ 1055952 h 2862353"/>
              <a:gd name="connsiteX263" fmla="*/ 604014 w 4343329"/>
              <a:gd name="connsiteY263" fmla="*/ 1052749 h 2862353"/>
              <a:gd name="connsiteX264" fmla="*/ 567182 w 4343329"/>
              <a:gd name="connsiteY264" fmla="*/ 1047144 h 2862353"/>
              <a:gd name="connsiteX265" fmla="*/ 493516 w 4343329"/>
              <a:gd name="connsiteY265" fmla="*/ 1031130 h 2862353"/>
              <a:gd name="connsiteX266" fmla="*/ 420652 w 4343329"/>
              <a:gd name="connsiteY266" fmla="*/ 1011913 h 2862353"/>
              <a:gd name="connsiteX267" fmla="*/ 384620 w 4343329"/>
              <a:gd name="connsiteY267" fmla="*/ 1000703 h 2862353"/>
              <a:gd name="connsiteX268" fmla="*/ 349389 w 4343329"/>
              <a:gd name="connsiteY268" fmla="*/ 987891 h 2862353"/>
              <a:gd name="connsiteX269" fmla="*/ 210065 w 4343329"/>
              <a:gd name="connsiteY269" fmla="*/ 928639 h 2862353"/>
              <a:gd name="connsiteX270" fmla="*/ 77147 w 4343329"/>
              <a:gd name="connsiteY270" fmla="*/ 854173 h 2862353"/>
              <a:gd name="connsiteX271" fmla="*/ 45119 w 4343329"/>
              <a:gd name="connsiteY271" fmla="*/ 833354 h 2862353"/>
              <a:gd name="connsiteX272" fmla="*/ 32308 w 4343329"/>
              <a:gd name="connsiteY272" fmla="*/ 824547 h 2862353"/>
              <a:gd name="connsiteX273" fmla="*/ 18695 w 4343329"/>
              <a:gd name="connsiteY273" fmla="*/ 610757 h 2862353"/>
              <a:gd name="connsiteX274" fmla="*/ 73944 w 4343329"/>
              <a:gd name="connsiteY274" fmla="*/ 505864 h 2862353"/>
              <a:gd name="connsiteX275" fmla="*/ 1996449 w 4343329"/>
              <a:gd name="connsiteY275" fmla="*/ 501861 h 2862353"/>
              <a:gd name="connsiteX276" fmla="*/ 2072517 w 4343329"/>
              <a:gd name="connsiteY276" fmla="*/ 551505 h 2862353"/>
              <a:gd name="connsiteX277" fmla="*/ 2094937 w 4343329"/>
              <a:gd name="connsiteY277" fmla="*/ 566719 h 2862353"/>
              <a:gd name="connsiteX278" fmla="*/ 2095737 w 4343329"/>
              <a:gd name="connsiteY278" fmla="*/ 566719 h 2862353"/>
              <a:gd name="connsiteX279" fmla="*/ 2095737 w 4343329"/>
              <a:gd name="connsiteY279" fmla="*/ 577128 h 2862353"/>
              <a:gd name="connsiteX280" fmla="*/ 2092534 w 4343329"/>
              <a:gd name="connsiteY280" fmla="*/ 600348 h 2862353"/>
              <a:gd name="connsiteX281" fmla="*/ 1991645 w 4343329"/>
              <a:gd name="connsiteY281" fmla="*/ 525082 h 2862353"/>
              <a:gd name="connsiteX282" fmla="*/ 1996449 w 4343329"/>
              <a:gd name="connsiteY282" fmla="*/ 501861 h 2862353"/>
              <a:gd name="connsiteX283" fmla="*/ 2639419 w 4343329"/>
              <a:gd name="connsiteY283" fmla="*/ 483444 h 2862353"/>
              <a:gd name="connsiteX284" fmla="*/ 2596982 w 4343329"/>
              <a:gd name="connsiteY284" fmla="*/ 608355 h 2862353"/>
              <a:gd name="connsiteX285" fmla="*/ 2681857 w 4343329"/>
              <a:gd name="connsiteY285" fmla="*/ 608355 h 2862353"/>
              <a:gd name="connsiteX286" fmla="*/ 1178123 w 4343329"/>
              <a:gd name="connsiteY286" fmla="*/ 483444 h 2862353"/>
              <a:gd name="connsiteX287" fmla="*/ 1135686 w 4343329"/>
              <a:gd name="connsiteY287" fmla="*/ 608355 h 2862353"/>
              <a:gd name="connsiteX288" fmla="*/ 1220561 w 4343329"/>
              <a:gd name="connsiteY288" fmla="*/ 608355 h 2862353"/>
              <a:gd name="connsiteX289" fmla="*/ 1755435 w 4343329"/>
              <a:gd name="connsiteY289" fmla="*/ 473836 h 2862353"/>
              <a:gd name="connsiteX290" fmla="*/ 1755435 w 4343329"/>
              <a:gd name="connsiteY290" fmla="*/ 545099 h 2862353"/>
              <a:gd name="connsiteX291" fmla="*/ 1823495 w 4343329"/>
              <a:gd name="connsiteY291" fmla="*/ 545099 h 2862353"/>
              <a:gd name="connsiteX292" fmla="*/ 1853121 w 4343329"/>
              <a:gd name="connsiteY292" fmla="*/ 535490 h 2862353"/>
              <a:gd name="connsiteX293" fmla="*/ 1865132 w 4343329"/>
              <a:gd name="connsiteY293" fmla="*/ 509067 h 2862353"/>
              <a:gd name="connsiteX294" fmla="*/ 1853121 w 4343329"/>
              <a:gd name="connsiteY294" fmla="*/ 483444 h 2862353"/>
              <a:gd name="connsiteX295" fmla="*/ 1823495 w 4343329"/>
              <a:gd name="connsiteY295" fmla="*/ 473836 h 2862353"/>
              <a:gd name="connsiteX296" fmla="*/ 2002054 w 4343329"/>
              <a:gd name="connsiteY296" fmla="*/ 464227 h 2862353"/>
              <a:gd name="connsiteX297" fmla="*/ 2071716 w 4343329"/>
              <a:gd name="connsiteY297" fmla="*/ 509867 h 2862353"/>
              <a:gd name="connsiteX298" fmla="*/ 2094936 w 4343329"/>
              <a:gd name="connsiteY298" fmla="*/ 525081 h 2862353"/>
              <a:gd name="connsiteX299" fmla="*/ 2095737 w 4343329"/>
              <a:gd name="connsiteY299" fmla="*/ 562714 h 2862353"/>
              <a:gd name="connsiteX300" fmla="*/ 1995648 w 4343329"/>
              <a:gd name="connsiteY300" fmla="*/ 486647 h 2862353"/>
              <a:gd name="connsiteX301" fmla="*/ 2002054 w 4343329"/>
              <a:gd name="connsiteY301" fmla="*/ 464227 h 2862353"/>
              <a:gd name="connsiteX302" fmla="*/ 2013263 w 4343329"/>
              <a:gd name="connsiteY302" fmla="*/ 432199 h 2862353"/>
              <a:gd name="connsiteX303" fmla="*/ 2082925 w 4343329"/>
              <a:gd name="connsiteY303" fmla="*/ 477839 h 2862353"/>
              <a:gd name="connsiteX304" fmla="*/ 2089331 w 4343329"/>
              <a:gd name="connsiteY304" fmla="*/ 481843 h 2862353"/>
              <a:gd name="connsiteX305" fmla="*/ 2091733 w 4343329"/>
              <a:gd name="connsiteY305" fmla="*/ 490651 h 2862353"/>
              <a:gd name="connsiteX306" fmla="*/ 2090132 w 4343329"/>
              <a:gd name="connsiteY306" fmla="*/ 501861 h 2862353"/>
              <a:gd name="connsiteX307" fmla="*/ 2094936 w 4343329"/>
              <a:gd name="connsiteY307" fmla="*/ 521878 h 2862353"/>
              <a:gd name="connsiteX308" fmla="*/ 2006057 w 4343329"/>
              <a:gd name="connsiteY308" fmla="*/ 455420 h 2862353"/>
              <a:gd name="connsiteX309" fmla="*/ 2010861 w 4343329"/>
              <a:gd name="connsiteY309" fmla="*/ 441007 h 2862353"/>
              <a:gd name="connsiteX310" fmla="*/ 2013263 w 4343329"/>
              <a:gd name="connsiteY310" fmla="*/ 432199 h 2862353"/>
              <a:gd name="connsiteX311" fmla="*/ 2018869 w 4343329"/>
              <a:gd name="connsiteY311" fmla="*/ 402573 h 2862353"/>
              <a:gd name="connsiteX312" fmla="*/ 2071716 w 4343329"/>
              <a:gd name="connsiteY312" fmla="*/ 437004 h 2862353"/>
              <a:gd name="connsiteX313" fmla="*/ 2075719 w 4343329"/>
              <a:gd name="connsiteY313" fmla="*/ 440206 h 2862353"/>
              <a:gd name="connsiteX314" fmla="*/ 2086929 w 4343329"/>
              <a:gd name="connsiteY314" fmla="*/ 475438 h 2862353"/>
              <a:gd name="connsiteX315" fmla="*/ 2015666 w 4343329"/>
              <a:gd name="connsiteY315" fmla="*/ 420989 h 2862353"/>
              <a:gd name="connsiteX316" fmla="*/ 2018869 w 4343329"/>
              <a:gd name="connsiteY316" fmla="*/ 404975 h 2862353"/>
              <a:gd name="connsiteX317" fmla="*/ 2018869 w 4343329"/>
              <a:gd name="connsiteY317" fmla="*/ 402573 h 2862353"/>
              <a:gd name="connsiteX318" fmla="*/ 2585772 w 4343329"/>
              <a:gd name="connsiteY318" fmla="*/ 398569 h 2862353"/>
              <a:gd name="connsiteX319" fmla="*/ 2693067 w 4343329"/>
              <a:gd name="connsiteY319" fmla="*/ 398569 h 2862353"/>
              <a:gd name="connsiteX320" fmla="*/ 2818778 w 4343329"/>
              <a:gd name="connsiteY320" fmla="*/ 730063 h 2862353"/>
              <a:gd name="connsiteX321" fmla="*/ 2721892 w 4343329"/>
              <a:gd name="connsiteY321" fmla="*/ 730063 h 2862353"/>
              <a:gd name="connsiteX322" fmla="*/ 2705077 w 4343329"/>
              <a:gd name="connsiteY322" fmla="*/ 682020 h 2862353"/>
              <a:gd name="connsiteX323" fmla="*/ 2574562 w 4343329"/>
              <a:gd name="connsiteY323" fmla="*/ 682020 h 2862353"/>
              <a:gd name="connsiteX324" fmla="*/ 2557747 w 4343329"/>
              <a:gd name="connsiteY324" fmla="*/ 730063 h 2862353"/>
              <a:gd name="connsiteX325" fmla="*/ 2460861 w 4343329"/>
              <a:gd name="connsiteY325" fmla="*/ 730063 h 2862353"/>
              <a:gd name="connsiteX326" fmla="*/ 1669759 w 4343329"/>
              <a:gd name="connsiteY326" fmla="*/ 398569 h 2862353"/>
              <a:gd name="connsiteX327" fmla="*/ 1836307 w 4343329"/>
              <a:gd name="connsiteY327" fmla="*/ 398569 h 2862353"/>
              <a:gd name="connsiteX328" fmla="*/ 1921182 w 4343329"/>
              <a:gd name="connsiteY328" fmla="*/ 429797 h 2862353"/>
              <a:gd name="connsiteX329" fmla="*/ 1952410 w 4343329"/>
              <a:gd name="connsiteY329" fmla="*/ 509067 h 2862353"/>
              <a:gd name="connsiteX330" fmla="*/ 1932392 w 4343329"/>
              <a:gd name="connsiteY330" fmla="*/ 573924 h 2862353"/>
              <a:gd name="connsiteX331" fmla="*/ 1885951 w 4343329"/>
              <a:gd name="connsiteY331" fmla="*/ 608355 h 2862353"/>
              <a:gd name="connsiteX332" fmla="*/ 1954011 w 4343329"/>
              <a:gd name="connsiteY332" fmla="*/ 730864 h 2862353"/>
              <a:gd name="connsiteX333" fmla="*/ 1855524 w 4343329"/>
              <a:gd name="connsiteY333" fmla="*/ 730864 h 2862353"/>
              <a:gd name="connsiteX334" fmla="*/ 1799474 w 4343329"/>
              <a:gd name="connsiteY334" fmla="*/ 619565 h 2862353"/>
              <a:gd name="connsiteX335" fmla="*/ 1755435 w 4343329"/>
              <a:gd name="connsiteY335" fmla="*/ 619565 h 2862353"/>
              <a:gd name="connsiteX336" fmla="*/ 1755435 w 4343329"/>
              <a:gd name="connsiteY336" fmla="*/ 730063 h 2862353"/>
              <a:gd name="connsiteX337" fmla="*/ 1669759 w 4343329"/>
              <a:gd name="connsiteY337" fmla="*/ 730063 h 2862353"/>
              <a:gd name="connsiteX338" fmla="*/ 1381504 w 4343329"/>
              <a:gd name="connsiteY338" fmla="*/ 398569 h 2862353"/>
              <a:gd name="connsiteX339" fmla="*/ 1624920 w 4343329"/>
              <a:gd name="connsiteY339" fmla="*/ 398569 h 2862353"/>
              <a:gd name="connsiteX340" fmla="*/ 1624920 w 4343329"/>
              <a:gd name="connsiteY340" fmla="*/ 473035 h 2862353"/>
              <a:gd name="connsiteX341" fmla="*/ 1467180 w 4343329"/>
              <a:gd name="connsiteY341" fmla="*/ 473035 h 2862353"/>
              <a:gd name="connsiteX342" fmla="*/ 1467180 w 4343329"/>
              <a:gd name="connsiteY342" fmla="*/ 525081 h 2862353"/>
              <a:gd name="connsiteX343" fmla="*/ 1620916 w 4343329"/>
              <a:gd name="connsiteY343" fmla="*/ 525081 h 2862353"/>
              <a:gd name="connsiteX344" fmla="*/ 1620916 w 4343329"/>
              <a:gd name="connsiteY344" fmla="*/ 599547 h 2862353"/>
              <a:gd name="connsiteX345" fmla="*/ 1467180 w 4343329"/>
              <a:gd name="connsiteY345" fmla="*/ 599547 h 2862353"/>
              <a:gd name="connsiteX346" fmla="*/ 1467180 w 4343329"/>
              <a:gd name="connsiteY346" fmla="*/ 730864 h 2862353"/>
              <a:gd name="connsiteX347" fmla="*/ 1381504 w 4343329"/>
              <a:gd name="connsiteY347" fmla="*/ 730864 h 2862353"/>
              <a:gd name="connsiteX348" fmla="*/ 1124476 w 4343329"/>
              <a:gd name="connsiteY348" fmla="*/ 398569 h 2862353"/>
              <a:gd name="connsiteX349" fmla="*/ 1231771 w 4343329"/>
              <a:gd name="connsiteY349" fmla="*/ 398569 h 2862353"/>
              <a:gd name="connsiteX350" fmla="*/ 1357482 w 4343329"/>
              <a:gd name="connsiteY350" fmla="*/ 730063 h 2862353"/>
              <a:gd name="connsiteX351" fmla="*/ 1260596 w 4343329"/>
              <a:gd name="connsiteY351" fmla="*/ 730063 h 2862353"/>
              <a:gd name="connsiteX352" fmla="*/ 1243781 w 4343329"/>
              <a:gd name="connsiteY352" fmla="*/ 682020 h 2862353"/>
              <a:gd name="connsiteX353" fmla="*/ 1113266 w 4343329"/>
              <a:gd name="connsiteY353" fmla="*/ 682020 h 2862353"/>
              <a:gd name="connsiteX354" fmla="*/ 1096451 w 4343329"/>
              <a:gd name="connsiteY354" fmla="*/ 730063 h 2862353"/>
              <a:gd name="connsiteX355" fmla="*/ 999565 w 4343329"/>
              <a:gd name="connsiteY355" fmla="*/ 730063 h 2862353"/>
              <a:gd name="connsiteX356" fmla="*/ 2310328 w 4343329"/>
              <a:gd name="connsiteY356" fmla="*/ 395366 h 2862353"/>
              <a:gd name="connsiteX357" fmla="*/ 2455256 w 4343329"/>
              <a:gd name="connsiteY357" fmla="*/ 484245 h 2862353"/>
              <a:gd name="connsiteX358" fmla="*/ 2381591 w 4343329"/>
              <a:gd name="connsiteY358" fmla="*/ 518675 h 2862353"/>
              <a:gd name="connsiteX359" fmla="*/ 2353566 w 4343329"/>
              <a:gd name="connsiteY359" fmla="*/ 484245 h 2862353"/>
              <a:gd name="connsiteX360" fmla="*/ 2310328 w 4343329"/>
              <a:gd name="connsiteY360" fmla="*/ 470633 h 2862353"/>
              <a:gd name="connsiteX361" fmla="*/ 2243869 w 4343329"/>
              <a:gd name="connsiteY361" fmla="*/ 497857 h 2862353"/>
              <a:gd name="connsiteX362" fmla="*/ 2217445 w 4343329"/>
              <a:gd name="connsiteY362" fmla="*/ 565917 h 2862353"/>
              <a:gd name="connsiteX363" fmla="*/ 2243869 w 4343329"/>
              <a:gd name="connsiteY363" fmla="*/ 633977 h 2862353"/>
              <a:gd name="connsiteX364" fmla="*/ 2310328 w 4343329"/>
              <a:gd name="connsiteY364" fmla="*/ 661202 h 2862353"/>
              <a:gd name="connsiteX365" fmla="*/ 2353566 w 4343329"/>
              <a:gd name="connsiteY365" fmla="*/ 647590 h 2862353"/>
              <a:gd name="connsiteX366" fmla="*/ 2381591 w 4343329"/>
              <a:gd name="connsiteY366" fmla="*/ 613159 h 2862353"/>
              <a:gd name="connsiteX367" fmla="*/ 2455256 w 4343329"/>
              <a:gd name="connsiteY367" fmla="*/ 647590 h 2862353"/>
              <a:gd name="connsiteX368" fmla="*/ 2400808 w 4343329"/>
              <a:gd name="connsiteY368" fmla="*/ 710846 h 2862353"/>
              <a:gd name="connsiteX369" fmla="*/ 2309527 w 4343329"/>
              <a:gd name="connsiteY369" fmla="*/ 738871 h 2862353"/>
              <a:gd name="connsiteX370" fmla="*/ 2181413 w 4343329"/>
              <a:gd name="connsiteY370" fmla="*/ 690828 h 2862353"/>
              <a:gd name="connsiteX371" fmla="*/ 2130168 w 4343329"/>
              <a:gd name="connsiteY371" fmla="*/ 567519 h 2862353"/>
              <a:gd name="connsiteX372" fmla="*/ 2181413 w 4343329"/>
              <a:gd name="connsiteY372" fmla="*/ 443409 h 2862353"/>
              <a:gd name="connsiteX373" fmla="*/ 2310328 w 4343329"/>
              <a:gd name="connsiteY373" fmla="*/ 395366 h 2862353"/>
              <a:gd name="connsiteX374" fmla="*/ 2020470 w 4343329"/>
              <a:gd name="connsiteY374" fmla="*/ 377751 h 2862353"/>
              <a:gd name="connsiteX375" fmla="*/ 2062908 w 4343329"/>
              <a:gd name="connsiteY375" fmla="*/ 405776 h 2862353"/>
              <a:gd name="connsiteX376" fmla="*/ 2067712 w 4343329"/>
              <a:gd name="connsiteY376" fmla="*/ 408979 h 2862353"/>
              <a:gd name="connsiteX377" fmla="*/ 2074118 w 4343329"/>
              <a:gd name="connsiteY377" fmla="*/ 433801 h 2862353"/>
              <a:gd name="connsiteX378" fmla="*/ 2020470 w 4343329"/>
              <a:gd name="connsiteY378" fmla="*/ 392964 h 2862353"/>
              <a:gd name="connsiteX379" fmla="*/ 2020470 w 4343329"/>
              <a:gd name="connsiteY379" fmla="*/ 377751 h 2862353"/>
              <a:gd name="connsiteX380" fmla="*/ 2022072 w 4343329"/>
              <a:gd name="connsiteY380" fmla="*/ 345722 h 2862353"/>
              <a:gd name="connsiteX381" fmla="*/ 2062908 w 4343329"/>
              <a:gd name="connsiteY381" fmla="*/ 372946 h 2862353"/>
              <a:gd name="connsiteX382" fmla="*/ 2066912 w 4343329"/>
              <a:gd name="connsiteY382" fmla="*/ 375348 h 2862353"/>
              <a:gd name="connsiteX383" fmla="*/ 2066111 w 4343329"/>
              <a:gd name="connsiteY383" fmla="*/ 376149 h 2862353"/>
              <a:gd name="connsiteX384" fmla="*/ 2066912 w 4343329"/>
              <a:gd name="connsiteY384" fmla="*/ 404174 h 2862353"/>
              <a:gd name="connsiteX385" fmla="*/ 2018869 w 4343329"/>
              <a:gd name="connsiteY385" fmla="*/ 367341 h 2862353"/>
              <a:gd name="connsiteX386" fmla="*/ 2022072 w 4343329"/>
              <a:gd name="connsiteY386" fmla="*/ 357733 h 2862353"/>
              <a:gd name="connsiteX387" fmla="*/ 2020470 w 4343329"/>
              <a:gd name="connsiteY387" fmla="*/ 353729 h 2862353"/>
              <a:gd name="connsiteX388" fmla="*/ 2019670 w 4343329"/>
              <a:gd name="connsiteY388" fmla="*/ 348124 h 2862353"/>
              <a:gd name="connsiteX389" fmla="*/ 2022072 w 4343329"/>
              <a:gd name="connsiteY389" fmla="*/ 345722 h 2862353"/>
              <a:gd name="connsiteX390" fmla="*/ 2043691 w 4343329"/>
              <a:gd name="connsiteY390" fmla="*/ 344121 h 2862353"/>
              <a:gd name="connsiteX391" fmla="*/ 2061307 w 4343329"/>
              <a:gd name="connsiteY391" fmla="*/ 344922 h 2862353"/>
              <a:gd name="connsiteX392" fmla="*/ 2066912 w 4343329"/>
              <a:gd name="connsiteY392" fmla="*/ 348925 h 2862353"/>
              <a:gd name="connsiteX393" fmla="*/ 2066111 w 4343329"/>
              <a:gd name="connsiteY393" fmla="*/ 354530 h 2862353"/>
              <a:gd name="connsiteX394" fmla="*/ 2064510 w 4343329"/>
              <a:gd name="connsiteY394" fmla="*/ 358534 h 2862353"/>
              <a:gd name="connsiteX395" fmla="*/ 2068513 w 4343329"/>
              <a:gd name="connsiteY395" fmla="*/ 370544 h 2862353"/>
              <a:gd name="connsiteX396" fmla="*/ 2069314 w 4343329"/>
              <a:gd name="connsiteY396" fmla="*/ 372947 h 2862353"/>
              <a:gd name="connsiteX397" fmla="*/ 2030880 w 4343329"/>
              <a:gd name="connsiteY397" fmla="*/ 344922 h 2862353"/>
              <a:gd name="connsiteX398" fmla="*/ 2043691 w 4343329"/>
              <a:gd name="connsiteY398" fmla="*/ 344121 h 2862353"/>
              <a:gd name="connsiteX399" fmla="*/ 247699 w 4343329"/>
              <a:gd name="connsiteY399" fmla="*/ 283267 h 2862353"/>
              <a:gd name="connsiteX400" fmla="*/ 347788 w 4343329"/>
              <a:gd name="connsiteY400" fmla="*/ 355331 h 2862353"/>
              <a:gd name="connsiteX401" fmla="*/ 599210 w 4343329"/>
              <a:gd name="connsiteY401" fmla="*/ 478640 h 2862353"/>
              <a:gd name="connsiteX402" fmla="*/ 734530 w 4343329"/>
              <a:gd name="connsiteY402" fmla="*/ 517875 h 2862353"/>
              <a:gd name="connsiteX403" fmla="*/ 873854 w 4343329"/>
              <a:gd name="connsiteY403" fmla="*/ 540295 h 2862353"/>
              <a:gd name="connsiteX404" fmla="*/ 909085 w 4343329"/>
              <a:gd name="connsiteY404" fmla="*/ 543498 h 2862353"/>
              <a:gd name="connsiteX405" fmla="*/ 944316 w 4343329"/>
              <a:gd name="connsiteY405" fmla="*/ 545099 h 2862353"/>
              <a:gd name="connsiteX406" fmla="*/ 961932 w 4343329"/>
              <a:gd name="connsiteY406" fmla="*/ 545900 h 2862353"/>
              <a:gd name="connsiteX407" fmla="*/ 979548 w 4343329"/>
              <a:gd name="connsiteY407" fmla="*/ 545900 h 2862353"/>
              <a:gd name="connsiteX408" fmla="*/ 987555 w 4343329"/>
              <a:gd name="connsiteY408" fmla="*/ 545900 h 2862353"/>
              <a:gd name="connsiteX409" fmla="*/ 907484 w 4343329"/>
              <a:gd name="connsiteY409" fmla="*/ 759689 h 2862353"/>
              <a:gd name="connsiteX410" fmla="*/ 894672 w 4343329"/>
              <a:gd name="connsiteY410" fmla="*/ 759689 h 2862353"/>
              <a:gd name="connsiteX411" fmla="*/ 859441 w 4343329"/>
              <a:gd name="connsiteY411" fmla="*/ 760490 h 2862353"/>
              <a:gd name="connsiteX412" fmla="*/ 824210 w 4343329"/>
              <a:gd name="connsiteY412" fmla="*/ 759689 h 2862353"/>
              <a:gd name="connsiteX413" fmla="*/ 542360 w 4343329"/>
              <a:gd name="connsiteY413" fmla="*/ 718853 h 2862353"/>
              <a:gd name="connsiteX414" fmla="*/ 274122 w 4343329"/>
              <a:gd name="connsiteY414" fmla="*/ 616362 h 2862353"/>
              <a:gd name="connsiteX415" fmla="*/ 147610 w 4343329"/>
              <a:gd name="connsiteY415" fmla="*/ 545099 h 2862353"/>
              <a:gd name="connsiteX416" fmla="*/ 87557 w 4343329"/>
              <a:gd name="connsiteY416" fmla="*/ 504263 h 2862353"/>
              <a:gd name="connsiteX417" fmla="*/ 78749 w 4343329"/>
              <a:gd name="connsiteY417" fmla="*/ 497857 h 2862353"/>
              <a:gd name="connsiteX418" fmla="*/ 247699 w 4343329"/>
              <a:gd name="connsiteY418" fmla="*/ 308890 h 2862353"/>
              <a:gd name="connsiteX419" fmla="*/ 247699 w 4343329"/>
              <a:gd name="connsiteY419" fmla="*/ 283267 h 2862353"/>
              <a:gd name="connsiteX420" fmla="*/ 930352 w 4343329"/>
              <a:gd name="connsiteY420" fmla="*/ 48 h 2862353"/>
              <a:gd name="connsiteX421" fmla="*/ 935508 w 4343329"/>
              <a:gd name="connsiteY421" fmla="*/ 130331 h 2862353"/>
              <a:gd name="connsiteX422" fmla="*/ 1144494 w 4343329"/>
              <a:gd name="connsiteY422" fmla="*/ 256042 h 2862353"/>
              <a:gd name="connsiteX423" fmla="*/ 1379102 w 4343329"/>
              <a:gd name="connsiteY423" fmla="*/ 197590 h 2862353"/>
              <a:gd name="connsiteX424" fmla="*/ 1618514 w 4343329"/>
              <a:gd name="connsiteY424" fmla="*/ 263249 h 2862353"/>
              <a:gd name="connsiteX425" fmla="*/ 1703389 w 4343329"/>
              <a:gd name="connsiteY425" fmla="*/ 317697 h 2862353"/>
              <a:gd name="connsiteX426" fmla="*/ 1680168 w 4343329"/>
              <a:gd name="connsiteY426" fmla="*/ 324103 h 2862353"/>
              <a:gd name="connsiteX427" fmla="*/ 1306237 w 4343329"/>
              <a:gd name="connsiteY427" fmla="*/ 324103 h 2862353"/>
              <a:gd name="connsiteX428" fmla="*/ 1306237 w 4343329"/>
              <a:gd name="connsiteY428" fmla="*/ 383355 h 2862353"/>
              <a:gd name="connsiteX429" fmla="*/ 1283817 w 4343329"/>
              <a:gd name="connsiteY429" fmla="*/ 324103 h 2862353"/>
              <a:gd name="connsiteX430" fmla="*/ 1072430 w 4343329"/>
              <a:gd name="connsiteY430" fmla="*/ 324103 h 2862353"/>
              <a:gd name="connsiteX431" fmla="*/ 1014779 w 4343329"/>
              <a:gd name="connsiteY431" fmla="*/ 477839 h 2862353"/>
              <a:gd name="connsiteX432" fmla="*/ 1013978 w 4343329"/>
              <a:gd name="connsiteY432" fmla="*/ 477839 h 2862353"/>
              <a:gd name="connsiteX433" fmla="*/ 980348 w 4343329"/>
              <a:gd name="connsiteY433" fmla="*/ 478640 h 2862353"/>
              <a:gd name="connsiteX434" fmla="*/ 963533 w 4343329"/>
              <a:gd name="connsiteY434" fmla="*/ 478640 h 2862353"/>
              <a:gd name="connsiteX435" fmla="*/ 946718 w 4343329"/>
              <a:gd name="connsiteY435" fmla="*/ 477839 h 2862353"/>
              <a:gd name="connsiteX436" fmla="*/ 913088 w 4343329"/>
              <a:gd name="connsiteY436" fmla="*/ 477038 h 2862353"/>
              <a:gd name="connsiteX437" fmla="*/ 879459 w 4343329"/>
              <a:gd name="connsiteY437" fmla="*/ 474636 h 2862353"/>
              <a:gd name="connsiteX438" fmla="*/ 746541 w 4343329"/>
              <a:gd name="connsiteY438" fmla="*/ 457821 h 2862353"/>
              <a:gd name="connsiteX439" fmla="*/ 680883 w 4343329"/>
              <a:gd name="connsiteY439" fmla="*/ 443408 h 2862353"/>
              <a:gd name="connsiteX440" fmla="*/ 648053 w 4343329"/>
              <a:gd name="connsiteY440" fmla="*/ 435401 h 2862353"/>
              <a:gd name="connsiteX441" fmla="*/ 615224 w 4343329"/>
              <a:gd name="connsiteY441" fmla="*/ 426593 h 2862353"/>
              <a:gd name="connsiteX442" fmla="*/ 363802 w 4343329"/>
              <a:gd name="connsiteY442" fmla="*/ 325704 h 2862353"/>
              <a:gd name="connsiteX443" fmla="*/ 249300 w 4343329"/>
              <a:gd name="connsiteY443" fmla="*/ 260046 h 2862353"/>
              <a:gd name="connsiteX444" fmla="*/ 356595 w 4343329"/>
              <a:gd name="connsiteY444" fmla="*/ 130331 h 2862353"/>
              <a:gd name="connsiteX445" fmla="*/ 483107 w 4343329"/>
              <a:gd name="connsiteY445" fmla="*/ 80687 h 2862353"/>
              <a:gd name="connsiteX446" fmla="*/ 698498 w 4343329"/>
              <a:gd name="connsiteY446" fmla="*/ 19833 h 2862353"/>
              <a:gd name="connsiteX447" fmla="*/ 906683 w 4343329"/>
              <a:gd name="connsiteY447" fmla="*/ 5420 h 2862353"/>
              <a:gd name="connsiteX448" fmla="*/ 930352 w 4343329"/>
              <a:gd name="connsiteY448" fmla="*/ 48 h 2862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</a:cxnLst>
            <a:rect l="l" t="t" r="r" b="b"/>
            <a:pathLst>
              <a:path w="4343329" h="2862353">
                <a:moveTo>
                  <a:pt x="2463262" y="2032818"/>
                </a:moveTo>
                <a:cubicBezTo>
                  <a:pt x="2487142" y="2032818"/>
                  <a:pt x="2506501" y="2052176"/>
                  <a:pt x="2506501" y="2076056"/>
                </a:cubicBezTo>
                <a:cubicBezTo>
                  <a:pt x="2506501" y="2099936"/>
                  <a:pt x="2487142" y="2119295"/>
                  <a:pt x="2463262" y="2119295"/>
                </a:cubicBezTo>
                <a:cubicBezTo>
                  <a:pt x="2439383" y="2119295"/>
                  <a:pt x="2420024" y="2099936"/>
                  <a:pt x="2420024" y="2076056"/>
                </a:cubicBezTo>
                <a:cubicBezTo>
                  <a:pt x="2420024" y="2052176"/>
                  <a:pt x="2439383" y="2032818"/>
                  <a:pt x="2463262" y="2032818"/>
                </a:cubicBezTo>
                <a:close/>
                <a:moveTo>
                  <a:pt x="2295114" y="1959153"/>
                </a:moveTo>
                <a:cubicBezTo>
                  <a:pt x="2301519" y="1965558"/>
                  <a:pt x="2312729" y="1970363"/>
                  <a:pt x="2314331" y="1987178"/>
                </a:cubicBezTo>
                <a:cubicBezTo>
                  <a:pt x="2316733" y="2003993"/>
                  <a:pt x="2326341" y="2088868"/>
                  <a:pt x="2324740" y="2092871"/>
                </a:cubicBezTo>
                <a:cubicBezTo>
                  <a:pt x="2322338" y="2096875"/>
                  <a:pt x="2301519" y="2068049"/>
                  <a:pt x="2302320" y="2100078"/>
                </a:cubicBezTo>
                <a:cubicBezTo>
                  <a:pt x="2303121" y="2132907"/>
                  <a:pt x="2310327" y="2136110"/>
                  <a:pt x="2303121" y="2145718"/>
                </a:cubicBezTo>
                <a:cubicBezTo>
                  <a:pt x="2295914" y="2155327"/>
                  <a:pt x="2279900" y="2161732"/>
                  <a:pt x="2279900" y="2172942"/>
                </a:cubicBezTo>
                <a:cubicBezTo>
                  <a:pt x="2280701" y="2184152"/>
                  <a:pt x="2273494" y="2202569"/>
                  <a:pt x="2270292" y="2216181"/>
                </a:cubicBezTo>
                <a:cubicBezTo>
                  <a:pt x="2267089" y="2229793"/>
                  <a:pt x="2262285" y="2238601"/>
                  <a:pt x="2251075" y="2254615"/>
                </a:cubicBezTo>
                <a:cubicBezTo>
                  <a:pt x="2239865" y="2270629"/>
                  <a:pt x="2243868" y="2285842"/>
                  <a:pt x="2243868" y="2285842"/>
                </a:cubicBezTo>
                <a:lnTo>
                  <a:pt x="2179011" y="2423565"/>
                </a:lnTo>
                <a:cubicBezTo>
                  <a:pt x="2179011" y="2423565"/>
                  <a:pt x="2162997" y="2429970"/>
                  <a:pt x="2162997" y="2442782"/>
                </a:cubicBezTo>
                <a:cubicBezTo>
                  <a:pt x="2162997" y="2455593"/>
                  <a:pt x="2153388" y="2477212"/>
                  <a:pt x="2153388" y="2477212"/>
                </a:cubicBezTo>
                <a:cubicBezTo>
                  <a:pt x="2153388" y="2477212"/>
                  <a:pt x="2144580" y="2497230"/>
                  <a:pt x="2130968" y="2495628"/>
                </a:cubicBezTo>
                <a:cubicBezTo>
                  <a:pt x="2117356" y="2494027"/>
                  <a:pt x="2122160" y="2488422"/>
                  <a:pt x="2106947" y="2495628"/>
                </a:cubicBezTo>
                <a:cubicBezTo>
                  <a:pt x="2092534" y="2503636"/>
                  <a:pt x="2077320" y="2509240"/>
                  <a:pt x="2063709" y="2502835"/>
                </a:cubicBezTo>
                <a:cubicBezTo>
                  <a:pt x="2049296" y="2496429"/>
                  <a:pt x="2026876" y="2474810"/>
                  <a:pt x="2028477" y="2457194"/>
                </a:cubicBezTo>
                <a:cubicBezTo>
                  <a:pt x="2030079" y="2439579"/>
                  <a:pt x="2038086" y="2431572"/>
                  <a:pt x="2032481" y="2413956"/>
                </a:cubicBezTo>
                <a:cubicBezTo>
                  <a:pt x="2027677" y="2397141"/>
                  <a:pt x="2014064" y="2367515"/>
                  <a:pt x="2021271" y="2358707"/>
                </a:cubicBezTo>
                <a:cubicBezTo>
                  <a:pt x="2028477" y="2349899"/>
                  <a:pt x="2040488" y="2339490"/>
                  <a:pt x="2046093" y="2320273"/>
                </a:cubicBezTo>
                <a:cubicBezTo>
                  <a:pt x="2051698" y="2301056"/>
                  <a:pt x="2063709" y="2310664"/>
                  <a:pt x="2063709" y="2310664"/>
                </a:cubicBezTo>
                <a:cubicBezTo>
                  <a:pt x="2063709" y="2310664"/>
                  <a:pt x="2074118" y="2280237"/>
                  <a:pt x="2077320" y="2268227"/>
                </a:cubicBezTo>
                <a:cubicBezTo>
                  <a:pt x="2080523" y="2256216"/>
                  <a:pt x="2078922" y="2205771"/>
                  <a:pt x="2075719" y="2193761"/>
                </a:cubicBezTo>
                <a:cubicBezTo>
                  <a:pt x="2072516" y="2180949"/>
                  <a:pt x="2061306" y="2172142"/>
                  <a:pt x="2070114" y="2160932"/>
                </a:cubicBezTo>
                <a:cubicBezTo>
                  <a:pt x="2078922" y="2149722"/>
                  <a:pt x="2089331" y="2124900"/>
                  <a:pt x="2098139" y="2114491"/>
                </a:cubicBezTo>
                <a:cubicBezTo>
                  <a:pt x="2098139" y="2114491"/>
                  <a:pt x="2162196" y="2097676"/>
                  <a:pt x="2185416" y="2072053"/>
                </a:cubicBezTo>
                <a:cubicBezTo>
                  <a:pt x="2208637" y="2046430"/>
                  <a:pt x="2233459" y="2004793"/>
                  <a:pt x="2242267" y="2003993"/>
                </a:cubicBezTo>
                <a:cubicBezTo>
                  <a:pt x="2251075" y="2003192"/>
                  <a:pt x="2275096" y="2003192"/>
                  <a:pt x="2276697" y="1990381"/>
                </a:cubicBezTo>
                <a:cubicBezTo>
                  <a:pt x="2277498" y="1977569"/>
                  <a:pt x="2289509" y="1953548"/>
                  <a:pt x="2295114" y="1959153"/>
                </a:cubicBezTo>
                <a:close/>
                <a:moveTo>
                  <a:pt x="1986040" y="1903903"/>
                </a:moveTo>
                <a:cubicBezTo>
                  <a:pt x="2008460" y="1991180"/>
                  <a:pt x="2013264" y="2080059"/>
                  <a:pt x="1937197" y="2136909"/>
                </a:cubicBezTo>
                <a:cubicBezTo>
                  <a:pt x="1734617" y="2220984"/>
                  <a:pt x="1828300" y="2281838"/>
                  <a:pt x="1809884" y="2432371"/>
                </a:cubicBezTo>
                <a:cubicBezTo>
                  <a:pt x="1624119" y="2539667"/>
                  <a:pt x="1760240" y="2757460"/>
                  <a:pt x="1403924" y="2840733"/>
                </a:cubicBezTo>
                <a:cubicBezTo>
                  <a:pt x="1431949" y="2753456"/>
                  <a:pt x="1463977" y="2667780"/>
                  <a:pt x="1500810" y="2584506"/>
                </a:cubicBezTo>
                <a:cubicBezTo>
                  <a:pt x="1504013" y="2576499"/>
                  <a:pt x="1507216" y="2569293"/>
                  <a:pt x="1511219" y="2561286"/>
                </a:cubicBezTo>
                <a:lnTo>
                  <a:pt x="1522429" y="2538065"/>
                </a:lnTo>
                <a:cubicBezTo>
                  <a:pt x="1530436" y="2522852"/>
                  <a:pt x="1536842" y="2507638"/>
                  <a:pt x="1544849" y="2492425"/>
                </a:cubicBezTo>
                <a:lnTo>
                  <a:pt x="1568070" y="2447585"/>
                </a:lnTo>
                <a:cubicBezTo>
                  <a:pt x="1576077" y="2433172"/>
                  <a:pt x="1584884" y="2418759"/>
                  <a:pt x="1592891" y="2403546"/>
                </a:cubicBezTo>
                <a:lnTo>
                  <a:pt x="1604902" y="2381126"/>
                </a:lnTo>
                <a:cubicBezTo>
                  <a:pt x="1608906" y="2373920"/>
                  <a:pt x="1613710" y="2366713"/>
                  <a:pt x="1617713" y="2359507"/>
                </a:cubicBezTo>
                <a:cubicBezTo>
                  <a:pt x="1626521" y="2345094"/>
                  <a:pt x="1635329" y="2330681"/>
                  <a:pt x="1644137" y="2316268"/>
                </a:cubicBezTo>
                <a:lnTo>
                  <a:pt x="1671361" y="2273831"/>
                </a:lnTo>
                <a:cubicBezTo>
                  <a:pt x="1680169" y="2259418"/>
                  <a:pt x="1690578" y="2245806"/>
                  <a:pt x="1700187" y="2232194"/>
                </a:cubicBezTo>
                <a:cubicBezTo>
                  <a:pt x="1777055" y="2121696"/>
                  <a:pt x="1865934" y="2019205"/>
                  <a:pt x="1963620" y="1924721"/>
                </a:cubicBezTo>
                <a:cubicBezTo>
                  <a:pt x="1971627" y="1917515"/>
                  <a:pt x="1978834" y="1911109"/>
                  <a:pt x="1986040" y="1903903"/>
                </a:cubicBezTo>
                <a:close/>
                <a:moveTo>
                  <a:pt x="1758638" y="1806217"/>
                </a:moveTo>
                <a:lnTo>
                  <a:pt x="1953210" y="1806217"/>
                </a:lnTo>
                <a:cubicBezTo>
                  <a:pt x="1958014" y="1820630"/>
                  <a:pt x="1962819" y="1835042"/>
                  <a:pt x="1967623" y="1850256"/>
                </a:cubicBezTo>
                <a:cubicBezTo>
                  <a:pt x="1953210" y="1861466"/>
                  <a:pt x="1939598" y="1873477"/>
                  <a:pt x="1925185" y="1884686"/>
                </a:cubicBezTo>
                <a:cubicBezTo>
                  <a:pt x="1817890" y="1973565"/>
                  <a:pt x="1721004" y="2077658"/>
                  <a:pt x="1640933" y="2192960"/>
                </a:cubicBezTo>
                <a:cubicBezTo>
                  <a:pt x="1620916" y="2221785"/>
                  <a:pt x="1602499" y="2251412"/>
                  <a:pt x="1583282" y="2281038"/>
                </a:cubicBezTo>
                <a:cubicBezTo>
                  <a:pt x="1574475" y="2296251"/>
                  <a:pt x="1565667" y="2311465"/>
                  <a:pt x="1556859" y="2326678"/>
                </a:cubicBezTo>
                <a:cubicBezTo>
                  <a:pt x="1552855" y="2334686"/>
                  <a:pt x="1548051" y="2341892"/>
                  <a:pt x="1544048" y="2349899"/>
                </a:cubicBezTo>
                <a:lnTo>
                  <a:pt x="1532037" y="2373119"/>
                </a:lnTo>
                <a:cubicBezTo>
                  <a:pt x="1499208" y="2435575"/>
                  <a:pt x="1471984" y="2500432"/>
                  <a:pt x="1447962" y="2566091"/>
                </a:cubicBezTo>
                <a:cubicBezTo>
                  <a:pt x="1415934" y="2658172"/>
                  <a:pt x="1391913" y="2752656"/>
                  <a:pt x="1376699" y="2848741"/>
                </a:cubicBezTo>
                <a:cubicBezTo>
                  <a:pt x="1351076" y="2853545"/>
                  <a:pt x="1322251" y="2858350"/>
                  <a:pt x="1291023" y="2862353"/>
                </a:cubicBezTo>
                <a:cubicBezTo>
                  <a:pt x="1211753" y="2852745"/>
                  <a:pt x="1225365" y="2764667"/>
                  <a:pt x="1195739" y="2706215"/>
                </a:cubicBezTo>
                <a:cubicBezTo>
                  <a:pt x="1188532" y="2695005"/>
                  <a:pt x="1182127" y="2683795"/>
                  <a:pt x="1175721" y="2671784"/>
                </a:cubicBezTo>
                <a:cubicBezTo>
                  <a:pt x="1185329" y="2642959"/>
                  <a:pt x="1195739" y="2614934"/>
                  <a:pt x="1207749" y="2586909"/>
                </a:cubicBezTo>
                <a:lnTo>
                  <a:pt x="1213354" y="2572496"/>
                </a:lnTo>
                <a:lnTo>
                  <a:pt x="1219760" y="2558083"/>
                </a:lnTo>
                <a:lnTo>
                  <a:pt x="1232571" y="2529258"/>
                </a:lnTo>
                <a:cubicBezTo>
                  <a:pt x="1241379" y="2510041"/>
                  <a:pt x="1249386" y="2490824"/>
                  <a:pt x="1258995" y="2472407"/>
                </a:cubicBezTo>
                <a:lnTo>
                  <a:pt x="1287020" y="2416358"/>
                </a:lnTo>
                <a:lnTo>
                  <a:pt x="1317447" y="2361910"/>
                </a:lnTo>
                <a:cubicBezTo>
                  <a:pt x="1359083" y="2290646"/>
                  <a:pt x="1403923" y="2220184"/>
                  <a:pt x="1453567" y="2153725"/>
                </a:cubicBezTo>
                <a:cubicBezTo>
                  <a:pt x="1459973" y="2145718"/>
                  <a:pt x="1465578" y="2136910"/>
                  <a:pt x="1471984" y="2128903"/>
                </a:cubicBezTo>
                <a:lnTo>
                  <a:pt x="1491201" y="2104081"/>
                </a:lnTo>
                <a:cubicBezTo>
                  <a:pt x="1504012" y="2087266"/>
                  <a:pt x="1516023" y="2071252"/>
                  <a:pt x="1529635" y="2055238"/>
                </a:cubicBezTo>
                <a:lnTo>
                  <a:pt x="1569670" y="2007195"/>
                </a:lnTo>
                <a:lnTo>
                  <a:pt x="1611307" y="1960754"/>
                </a:lnTo>
                <a:lnTo>
                  <a:pt x="1621716" y="1948743"/>
                </a:lnTo>
                <a:lnTo>
                  <a:pt x="1632126" y="1937533"/>
                </a:lnTo>
                <a:lnTo>
                  <a:pt x="1653745" y="1915113"/>
                </a:lnTo>
                <a:lnTo>
                  <a:pt x="1675364" y="1892694"/>
                </a:lnTo>
                <a:lnTo>
                  <a:pt x="1696983" y="1870274"/>
                </a:lnTo>
                <a:lnTo>
                  <a:pt x="1718602" y="1847854"/>
                </a:lnTo>
                <a:lnTo>
                  <a:pt x="1729812" y="1836644"/>
                </a:lnTo>
                <a:lnTo>
                  <a:pt x="1741022" y="1825434"/>
                </a:lnTo>
                <a:close/>
                <a:moveTo>
                  <a:pt x="1114867" y="1607641"/>
                </a:moveTo>
                <a:lnTo>
                  <a:pt x="1171718" y="1806217"/>
                </a:lnTo>
                <a:lnTo>
                  <a:pt x="1258195" y="1806217"/>
                </a:lnTo>
                <a:cubicBezTo>
                  <a:pt x="1208550" y="1879882"/>
                  <a:pt x="1164511" y="1957551"/>
                  <a:pt x="1127679" y="2037622"/>
                </a:cubicBezTo>
                <a:cubicBezTo>
                  <a:pt x="1092447" y="2114490"/>
                  <a:pt x="1062821" y="2192960"/>
                  <a:pt x="1039601" y="2273832"/>
                </a:cubicBezTo>
                <a:cubicBezTo>
                  <a:pt x="1028391" y="2249010"/>
                  <a:pt x="1016380" y="2224187"/>
                  <a:pt x="1002768" y="2200166"/>
                </a:cubicBezTo>
                <a:cubicBezTo>
                  <a:pt x="1043604" y="1979170"/>
                  <a:pt x="1057216" y="1875078"/>
                  <a:pt x="1017181" y="1743762"/>
                </a:cubicBezTo>
                <a:cubicBezTo>
                  <a:pt x="1033996" y="1717338"/>
                  <a:pt x="1051611" y="1690915"/>
                  <a:pt x="1070828" y="1665292"/>
                </a:cubicBezTo>
                <a:lnTo>
                  <a:pt x="1081238" y="1650879"/>
                </a:lnTo>
                <a:cubicBezTo>
                  <a:pt x="1085241" y="1646075"/>
                  <a:pt x="1088444" y="1641271"/>
                  <a:pt x="1092447" y="1636466"/>
                </a:cubicBezTo>
                <a:close/>
                <a:moveTo>
                  <a:pt x="1608906" y="1587623"/>
                </a:moveTo>
                <a:lnTo>
                  <a:pt x="1658550" y="1807017"/>
                </a:lnTo>
                <a:lnTo>
                  <a:pt x="1662554" y="1807017"/>
                </a:lnTo>
                <a:cubicBezTo>
                  <a:pt x="1657749" y="1811822"/>
                  <a:pt x="1652144" y="1817427"/>
                  <a:pt x="1647340" y="1822231"/>
                </a:cubicBezTo>
                <a:lnTo>
                  <a:pt x="1624920" y="1844651"/>
                </a:lnTo>
                <a:lnTo>
                  <a:pt x="1602500" y="1867871"/>
                </a:lnTo>
                <a:lnTo>
                  <a:pt x="1580080" y="1891092"/>
                </a:lnTo>
                <a:lnTo>
                  <a:pt x="1568870" y="1903103"/>
                </a:lnTo>
                <a:lnTo>
                  <a:pt x="1558461" y="1915113"/>
                </a:lnTo>
                <a:cubicBezTo>
                  <a:pt x="1500810" y="1978369"/>
                  <a:pt x="1447963" y="2045629"/>
                  <a:pt x="1399120" y="2116091"/>
                </a:cubicBezTo>
                <a:cubicBezTo>
                  <a:pt x="1387109" y="2134508"/>
                  <a:pt x="1375099" y="2152123"/>
                  <a:pt x="1363088" y="2169739"/>
                </a:cubicBezTo>
                <a:lnTo>
                  <a:pt x="1329458" y="2224187"/>
                </a:lnTo>
                <a:lnTo>
                  <a:pt x="1321451" y="2237799"/>
                </a:lnTo>
                <a:cubicBezTo>
                  <a:pt x="1318248" y="2242604"/>
                  <a:pt x="1315846" y="2247408"/>
                  <a:pt x="1313444" y="2252212"/>
                </a:cubicBezTo>
                <a:lnTo>
                  <a:pt x="1298231" y="2280237"/>
                </a:lnTo>
                <a:lnTo>
                  <a:pt x="1283017" y="2308262"/>
                </a:lnTo>
                <a:cubicBezTo>
                  <a:pt x="1280615" y="2313066"/>
                  <a:pt x="1278213" y="2317870"/>
                  <a:pt x="1275811" y="2322675"/>
                </a:cubicBezTo>
                <a:lnTo>
                  <a:pt x="1268604" y="2337087"/>
                </a:lnTo>
                <a:cubicBezTo>
                  <a:pt x="1259796" y="2356304"/>
                  <a:pt x="1250188" y="2375522"/>
                  <a:pt x="1241380" y="2394739"/>
                </a:cubicBezTo>
                <a:lnTo>
                  <a:pt x="1217359" y="2453991"/>
                </a:lnTo>
                <a:cubicBezTo>
                  <a:pt x="1209352" y="2473208"/>
                  <a:pt x="1202946" y="2494027"/>
                  <a:pt x="1195740" y="2514044"/>
                </a:cubicBezTo>
                <a:lnTo>
                  <a:pt x="1185330" y="2544471"/>
                </a:lnTo>
                <a:lnTo>
                  <a:pt x="1180526" y="2559685"/>
                </a:lnTo>
                <a:lnTo>
                  <a:pt x="1176523" y="2574898"/>
                </a:lnTo>
                <a:lnTo>
                  <a:pt x="1158907" y="2637354"/>
                </a:lnTo>
                <a:cubicBezTo>
                  <a:pt x="1114067" y="2538066"/>
                  <a:pt x="1096452" y="2431571"/>
                  <a:pt x="1059619" y="2328279"/>
                </a:cubicBezTo>
                <a:cubicBezTo>
                  <a:pt x="1092448" y="2236999"/>
                  <a:pt x="1130882" y="2148120"/>
                  <a:pt x="1175722" y="2062444"/>
                </a:cubicBezTo>
                <a:cubicBezTo>
                  <a:pt x="1222964" y="1972764"/>
                  <a:pt x="1277412" y="1887088"/>
                  <a:pt x="1339067" y="1807017"/>
                </a:cubicBezTo>
                <a:lnTo>
                  <a:pt x="1559262" y="1807017"/>
                </a:lnTo>
                <a:close/>
                <a:moveTo>
                  <a:pt x="2685059" y="878194"/>
                </a:moveTo>
                <a:lnTo>
                  <a:pt x="2950895" y="878194"/>
                </a:lnTo>
                <a:lnTo>
                  <a:pt x="3247157" y="1281752"/>
                </a:lnTo>
                <a:lnTo>
                  <a:pt x="3247157" y="878194"/>
                </a:lnTo>
                <a:lnTo>
                  <a:pt x="3505787" y="878194"/>
                </a:lnTo>
                <a:lnTo>
                  <a:pt x="3505787" y="1730950"/>
                </a:lnTo>
                <a:lnTo>
                  <a:pt x="3257567" y="1730950"/>
                </a:lnTo>
                <a:lnTo>
                  <a:pt x="2942888" y="1298567"/>
                </a:lnTo>
                <a:lnTo>
                  <a:pt x="2942888" y="1730950"/>
                </a:lnTo>
                <a:lnTo>
                  <a:pt x="2685059" y="1730950"/>
                </a:lnTo>
                <a:close/>
                <a:moveTo>
                  <a:pt x="2288708" y="878194"/>
                </a:moveTo>
                <a:lnTo>
                  <a:pt x="2547337" y="878194"/>
                </a:lnTo>
                <a:lnTo>
                  <a:pt x="2547337" y="1730950"/>
                </a:lnTo>
                <a:lnTo>
                  <a:pt x="2288708" y="1730950"/>
                </a:lnTo>
                <a:close/>
                <a:moveTo>
                  <a:pt x="984352" y="878194"/>
                </a:moveTo>
                <a:lnTo>
                  <a:pt x="1273408" y="878194"/>
                </a:lnTo>
                <a:lnTo>
                  <a:pt x="1383105" y="1399456"/>
                </a:lnTo>
                <a:lnTo>
                  <a:pt x="1512820" y="878194"/>
                </a:lnTo>
                <a:lnTo>
                  <a:pt x="1706592" y="878194"/>
                </a:lnTo>
                <a:lnTo>
                  <a:pt x="1835506" y="1399456"/>
                </a:lnTo>
                <a:lnTo>
                  <a:pt x="1944403" y="878194"/>
                </a:lnTo>
                <a:lnTo>
                  <a:pt x="2235061" y="878194"/>
                </a:lnTo>
                <a:lnTo>
                  <a:pt x="1990844" y="1730950"/>
                </a:lnTo>
                <a:lnTo>
                  <a:pt x="1719404" y="1730950"/>
                </a:lnTo>
                <a:lnTo>
                  <a:pt x="1609706" y="1247321"/>
                </a:lnTo>
                <a:lnTo>
                  <a:pt x="1500009" y="1730950"/>
                </a:lnTo>
                <a:lnTo>
                  <a:pt x="1228568" y="1730950"/>
                </a:lnTo>
                <a:close/>
                <a:moveTo>
                  <a:pt x="3960590" y="866183"/>
                </a:moveTo>
                <a:cubicBezTo>
                  <a:pt x="4104717" y="866183"/>
                  <a:pt x="4225625" y="905418"/>
                  <a:pt x="4322510" y="984688"/>
                </a:cubicBezTo>
                <a:lnTo>
                  <a:pt x="4184788" y="1167250"/>
                </a:lnTo>
                <a:cubicBezTo>
                  <a:pt x="4110322" y="1111200"/>
                  <a:pt x="4027048" y="1083175"/>
                  <a:pt x="3934166" y="1083175"/>
                </a:cubicBezTo>
                <a:cubicBezTo>
                  <a:pt x="3890928" y="1083175"/>
                  <a:pt x="3869309" y="1095987"/>
                  <a:pt x="3869309" y="1121610"/>
                </a:cubicBezTo>
                <a:cubicBezTo>
                  <a:pt x="3869309" y="1133620"/>
                  <a:pt x="3881319" y="1143229"/>
                  <a:pt x="3904540" y="1152036"/>
                </a:cubicBezTo>
                <a:cubicBezTo>
                  <a:pt x="3927761" y="1160844"/>
                  <a:pt x="3956586" y="1167250"/>
                  <a:pt x="3991817" y="1172054"/>
                </a:cubicBezTo>
                <a:cubicBezTo>
                  <a:pt x="4027048" y="1176858"/>
                  <a:pt x="4064682" y="1185666"/>
                  <a:pt x="4106319" y="1197677"/>
                </a:cubicBezTo>
                <a:cubicBezTo>
                  <a:pt x="4147956" y="1209688"/>
                  <a:pt x="4185589" y="1224901"/>
                  <a:pt x="4220820" y="1241716"/>
                </a:cubicBezTo>
                <a:cubicBezTo>
                  <a:pt x="4255251" y="1259332"/>
                  <a:pt x="4284877" y="1285755"/>
                  <a:pt x="4308098" y="1321787"/>
                </a:cubicBezTo>
                <a:cubicBezTo>
                  <a:pt x="4331318" y="1357819"/>
                  <a:pt x="4343329" y="1400256"/>
                  <a:pt x="4343329" y="1449901"/>
                </a:cubicBezTo>
                <a:cubicBezTo>
                  <a:pt x="4343329" y="1543584"/>
                  <a:pt x="4310500" y="1616448"/>
                  <a:pt x="4245642" y="1668494"/>
                </a:cubicBezTo>
                <a:cubicBezTo>
                  <a:pt x="4179984" y="1720540"/>
                  <a:pt x="4090305" y="1746163"/>
                  <a:pt x="3975002" y="1746964"/>
                </a:cubicBezTo>
                <a:cubicBezTo>
                  <a:pt x="3811658" y="1746964"/>
                  <a:pt x="3679540" y="1702124"/>
                  <a:pt x="3578651" y="1611644"/>
                </a:cubicBezTo>
                <a:lnTo>
                  <a:pt x="3713170" y="1419474"/>
                </a:lnTo>
                <a:cubicBezTo>
                  <a:pt x="3790038" y="1492338"/>
                  <a:pt x="3881319" y="1529171"/>
                  <a:pt x="3987814" y="1529171"/>
                </a:cubicBezTo>
                <a:cubicBezTo>
                  <a:pt x="4051070" y="1529171"/>
                  <a:pt x="4082297" y="1513957"/>
                  <a:pt x="4082297" y="1483530"/>
                </a:cubicBezTo>
                <a:cubicBezTo>
                  <a:pt x="4082297" y="1468317"/>
                  <a:pt x="4066283" y="1457908"/>
                  <a:pt x="4033454" y="1449901"/>
                </a:cubicBezTo>
                <a:cubicBezTo>
                  <a:pt x="4000625" y="1442694"/>
                  <a:pt x="3960590" y="1434687"/>
                  <a:pt x="3914148" y="1425879"/>
                </a:cubicBezTo>
                <a:cubicBezTo>
                  <a:pt x="3867707" y="1417872"/>
                  <a:pt x="3821266" y="1405061"/>
                  <a:pt x="3774825" y="1389047"/>
                </a:cubicBezTo>
                <a:cubicBezTo>
                  <a:pt x="3727583" y="1373032"/>
                  <a:pt x="3688348" y="1344207"/>
                  <a:pt x="3655519" y="1303371"/>
                </a:cubicBezTo>
                <a:cubicBezTo>
                  <a:pt x="3622690" y="1262534"/>
                  <a:pt x="3606676" y="1211289"/>
                  <a:pt x="3606676" y="1148834"/>
                </a:cubicBezTo>
                <a:cubicBezTo>
                  <a:pt x="3606676" y="1071165"/>
                  <a:pt x="3637903" y="1004706"/>
                  <a:pt x="3700359" y="949457"/>
                </a:cubicBezTo>
                <a:cubicBezTo>
                  <a:pt x="3762814" y="894208"/>
                  <a:pt x="3850092" y="866183"/>
                  <a:pt x="3960590" y="866183"/>
                </a:cubicBezTo>
                <a:close/>
                <a:moveTo>
                  <a:pt x="29906" y="837358"/>
                </a:moveTo>
                <a:cubicBezTo>
                  <a:pt x="41917" y="847767"/>
                  <a:pt x="53927" y="858176"/>
                  <a:pt x="65938" y="867785"/>
                </a:cubicBezTo>
                <a:cubicBezTo>
                  <a:pt x="105974" y="900614"/>
                  <a:pt x="149212" y="929440"/>
                  <a:pt x="193251" y="956664"/>
                </a:cubicBezTo>
                <a:cubicBezTo>
                  <a:pt x="238091" y="983087"/>
                  <a:pt x="284532" y="1007909"/>
                  <a:pt x="331774" y="1028728"/>
                </a:cubicBezTo>
                <a:cubicBezTo>
                  <a:pt x="379816" y="1050347"/>
                  <a:pt x="428660" y="1068763"/>
                  <a:pt x="479104" y="1083176"/>
                </a:cubicBezTo>
                <a:cubicBezTo>
                  <a:pt x="503926" y="1091183"/>
                  <a:pt x="529549" y="1096788"/>
                  <a:pt x="555172" y="1103194"/>
                </a:cubicBezTo>
                <a:cubicBezTo>
                  <a:pt x="567983" y="1106396"/>
                  <a:pt x="580794" y="1108799"/>
                  <a:pt x="593606" y="1111201"/>
                </a:cubicBezTo>
                <a:cubicBezTo>
                  <a:pt x="600012" y="1112802"/>
                  <a:pt x="606417" y="1114404"/>
                  <a:pt x="612823" y="1115204"/>
                </a:cubicBezTo>
                <a:lnTo>
                  <a:pt x="632040" y="1118407"/>
                </a:lnTo>
                <a:cubicBezTo>
                  <a:pt x="684086" y="1127215"/>
                  <a:pt x="736132" y="1130418"/>
                  <a:pt x="788979" y="1132019"/>
                </a:cubicBezTo>
                <a:lnTo>
                  <a:pt x="828214" y="1132019"/>
                </a:lnTo>
                <a:cubicBezTo>
                  <a:pt x="835420" y="1132019"/>
                  <a:pt x="841826" y="1132019"/>
                  <a:pt x="848232" y="1132019"/>
                </a:cubicBezTo>
                <a:lnTo>
                  <a:pt x="868249" y="1131219"/>
                </a:lnTo>
                <a:lnTo>
                  <a:pt x="907484" y="1128816"/>
                </a:lnTo>
                <a:lnTo>
                  <a:pt x="946719" y="1124813"/>
                </a:lnTo>
                <a:cubicBezTo>
                  <a:pt x="957128" y="1124012"/>
                  <a:pt x="966737" y="1123211"/>
                  <a:pt x="976345" y="1121610"/>
                </a:cubicBezTo>
                <a:lnTo>
                  <a:pt x="1092448" y="1528371"/>
                </a:lnTo>
                <a:cubicBezTo>
                  <a:pt x="1082039" y="1540381"/>
                  <a:pt x="1072430" y="1553193"/>
                  <a:pt x="1062021" y="1565203"/>
                </a:cubicBezTo>
                <a:lnTo>
                  <a:pt x="1038800" y="1595630"/>
                </a:lnTo>
                <a:cubicBezTo>
                  <a:pt x="1035598" y="1600434"/>
                  <a:pt x="1031594" y="1605239"/>
                  <a:pt x="1027591" y="1610844"/>
                </a:cubicBezTo>
                <a:lnTo>
                  <a:pt x="1016381" y="1626858"/>
                </a:lnTo>
                <a:cubicBezTo>
                  <a:pt x="1006772" y="1640470"/>
                  <a:pt x="997164" y="1654883"/>
                  <a:pt x="988356" y="1668495"/>
                </a:cubicBezTo>
                <a:cubicBezTo>
                  <a:pt x="968338" y="1620452"/>
                  <a:pt x="941915" y="1566004"/>
                  <a:pt x="908285" y="1498744"/>
                </a:cubicBezTo>
                <a:cubicBezTo>
                  <a:pt x="967537" y="1229706"/>
                  <a:pt x="839424" y="1387446"/>
                  <a:pt x="744139" y="1247321"/>
                </a:cubicBezTo>
                <a:cubicBezTo>
                  <a:pt x="668873" y="1198478"/>
                  <a:pt x="552770" y="1313780"/>
                  <a:pt x="479104" y="1295364"/>
                </a:cubicBezTo>
                <a:cubicBezTo>
                  <a:pt x="411845" y="1254528"/>
                  <a:pt x="346186" y="1355417"/>
                  <a:pt x="291738" y="1298567"/>
                </a:cubicBezTo>
                <a:cubicBezTo>
                  <a:pt x="160422" y="1212090"/>
                  <a:pt x="-4524" y="1029528"/>
                  <a:pt x="13091" y="872589"/>
                </a:cubicBezTo>
                <a:cubicBezTo>
                  <a:pt x="21899" y="861379"/>
                  <a:pt x="27504" y="849369"/>
                  <a:pt x="29906" y="837358"/>
                </a:cubicBezTo>
                <a:close/>
                <a:moveTo>
                  <a:pt x="1990844" y="697234"/>
                </a:moveTo>
                <a:cubicBezTo>
                  <a:pt x="2006859" y="707643"/>
                  <a:pt x="2022873" y="718052"/>
                  <a:pt x="2038086" y="728462"/>
                </a:cubicBezTo>
                <a:cubicBezTo>
                  <a:pt x="2042090" y="730864"/>
                  <a:pt x="2046093" y="734067"/>
                  <a:pt x="2050097" y="736469"/>
                </a:cubicBezTo>
                <a:cubicBezTo>
                  <a:pt x="2047695" y="736469"/>
                  <a:pt x="2045293" y="736469"/>
                  <a:pt x="2042890" y="736469"/>
                </a:cubicBezTo>
                <a:cubicBezTo>
                  <a:pt x="2023673" y="736469"/>
                  <a:pt x="2002855" y="733266"/>
                  <a:pt x="1996449" y="730063"/>
                </a:cubicBezTo>
                <a:cubicBezTo>
                  <a:pt x="1988442" y="725259"/>
                  <a:pt x="1988442" y="707643"/>
                  <a:pt x="1990844" y="697234"/>
                </a:cubicBezTo>
                <a:close/>
                <a:moveTo>
                  <a:pt x="1998851" y="662803"/>
                </a:moveTo>
                <a:cubicBezTo>
                  <a:pt x="2015666" y="673212"/>
                  <a:pt x="2031680" y="684422"/>
                  <a:pt x="2047694" y="694831"/>
                </a:cubicBezTo>
                <a:cubicBezTo>
                  <a:pt x="2063709" y="705241"/>
                  <a:pt x="2078922" y="714849"/>
                  <a:pt x="2093335" y="725258"/>
                </a:cubicBezTo>
                <a:cubicBezTo>
                  <a:pt x="2092534" y="727660"/>
                  <a:pt x="2090933" y="729262"/>
                  <a:pt x="2089331" y="730063"/>
                </a:cubicBezTo>
                <a:cubicBezTo>
                  <a:pt x="2084527" y="733265"/>
                  <a:pt x="2070915" y="735668"/>
                  <a:pt x="2056502" y="736468"/>
                </a:cubicBezTo>
                <a:cubicBezTo>
                  <a:pt x="2036484" y="722856"/>
                  <a:pt x="2014865" y="706842"/>
                  <a:pt x="1993246" y="690027"/>
                </a:cubicBezTo>
                <a:cubicBezTo>
                  <a:pt x="1994848" y="685223"/>
                  <a:pt x="1998050" y="676415"/>
                  <a:pt x="1998851" y="662803"/>
                </a:cubicBezTo>
                <a:close/>
                <a:moveTo>
                  <a:pt x="1996449" y="620366"/>
                </a:moveTo>
                <a:cubicBezTo>
                  <a:pt x="2014065" y="631576"/>
                  <a:pt x="2031680" y="642786"/>
                  <a:pt x="2048495" y="653996"/>
                </a:cubicBezTo>
                <a:cubicBezTo>
                  <a:pt x="2062908" y="663604"/>
                  <a:pt x="2077321" y="673213"/>
                  <a:pt x="2090933" y="682821"/>
                </a:cubicBezTo>
                <a:cubicBezTo>
                  <a:pt x="2091734" y="686825"/>
                  <a:pt x="2093335" y="689227"/>
                  <a:pt x="2093335" y="691629"/>
                </a:cubicBezTo>
                <a:cubicBezTo>
                  <a:pt x="2095737" y="698035"/>
                  <a:pt x="2097338" y="711647"/>
                  <a:pt x="2094936" y="721255"/>
                </a:cubicBezTo>
                <a:cubicBezTo>
                  <a:pt x="2065310" y="702839"/>
                  <a:pt x="2032481" y="679619"/>
                  <a:pt x="1998851" y="653195"/>
                </a:cubicBezTo>
                <a:cubicBezTo>
                  <a:pt x="1998851" y="652394"/>
                  <a:pt x="1998851" y="652394"/>
                  <a:pt x="1998851" y="651594"/>
                </a:cubicBezTo>
                <a:cubicBezTo>
                  <a:pt x="1998851" y="643587"/>
                  <a:pt x="1998050" y="631576"/>
                  <a:pt x="1996449" y="620366"/>
                </a:cubicBezTo>
                <a:close/>
                <a:moveTo>
                  <a:pt x="1990043" y="572323"/>
                </a:moveTo>
                <a:cubicBezTo>
                  <a:pt x="2017267" y="590739"/>
                  <a:pt x="2045292" y="609156"/>
                  <a:pt x="2072516" y="626771"/>
                </a:cubicBezTo>
                <a:cubicBezTo>
                  <a:pt x="2078121" y="629974"/>
                  <a:pt x="2082925" y="633978"/>
                  <a:pt x="2088530" y="637180"/>
                </a:cubicBezTo>
                <a:cubicBezTo>
                  <a:pt x="2087730" y="641985"/>
                  <a:pt x="2087730" y="647590"/>
                  <a:pt x="2087730" y="651593"/>
                </a:cubicBezTo>
                <a:cubicBezTo>
                  <a:pt x="2087730" y="662002"/>
                  <a:pt x="2088530" y="670010"/>
                  <a:pt x="2090132" y="676415"/>
                </a:cubicBezTo>
                <a:cubicBezTo>
                  <a:pt x="2060505" y="657999"/>
                  <a:pt x="2027676" y="635579"/>
                  <a:pt x="1995648" y="609156"/>
                </a:cubicBezTo>
                <a:cubicBezTo>
                  <a:pt x="1993246" y="593141"/>
                  <a:pt x="1990844" y="578729"/>
                  <a:pt x="1990844" y="577127"/>
                </a:cubicBezTo>
                <a:cubicBezTo>
                  <a:pt x="1990844" y="575526"/>
                  <a:pt x="1990043" y="573924"/>
                  <a:pt x="1990043" y="572323"/>
                </a:cubicBezTo>
                <a:close/>
                <a:moveTo>
                  <a:pt x="1990844" y="537092"/>
                </a:moveTo>
                <a:cubicBezTo>
                  <a:pt x="2014064" y="553106"/>
                  <a:pt x="2038886" y="569120"/>
                  <a:pt x="2062107" y="584334"/>
                </a:cubicBezTo>
                <a:cubicBezTo>
                  <a:pt x="2071716" y="591540"/>
                  <a:pt x="2082125" y="597946"/>
                  <a:pt x="2091733" y="604352"/>
                </a:cubicBezTo>
                <a:cubicBezTo>
                  <a:pt x="2090933" y="613960"/>
                  <a:pt x="2089331" y="623569"/>
                  <a:pt x="2088530" y="633177"/>
                </a:cubicBezTo>
                <a:cubicBezTo>
                  <a:pt x="2056502" y="611558"/>
                  <a:pt x="2022872" y="586736"/>
                  <a:pt x="1990844" y="556309"/>
                </a:cubicBezTo>
                <a:cubicBezTo>
                  <a:pt x="1990043" y="551505"/>
                  <a:pt x="1990844" y="544298"/>
                  <a:pt x="1990844" y="537092"/>
                </a:cubicBezTo>
                <a:close/>
                <a:moveTo>
                  <a:pt x="73944" y="505864"/>
                </a:moveTo>
                <a:cubicBezTo>
                  <a:pt x="93962" y="524280"/>
                  <a:pt x="114781" y="542697"/>
                  <a:pt x="136400" y="560312"/>
                </a:cubicBezTo>
                <a:cubicBezTo>
                  <a:pt x="174834" y="591540"/>
                  <a:pt x="215670" y="619565"/>
                  <a:pt x="257307" y="645187"/>
                </a:cubicBezTo>
                <a:cubicBezTo>
                  <a:pt x="341382" y="698034"/>
                  <a:pt x="432662" y="739671"/>
                  <a:pt x="527146" y="770899"/>
                </a:cubicBezTo>
                <a:cubicBezTo>
                  <a:pt x="539157" y="774102"/>
                  <a:pt x="551168" y="777305"/>
                  <a:pt x="563178" y="781308"/>
                </a:cubicBezTo>
                <a:lnTo>
                  <a:pt x="580794" y="786913"/>
                </a:lnTo>
                <a:lnTo>
                  <a:pt x="599210" y="791717"/>
                </a:lnTo>
                <a:cubicBezTo>
                  <a:pt x="612021" y="794920"/>
                  <a:pt x="624032" y="798123"/>
                  <a:pt x="636043" y="800525"/>
                </a:cubicBezTo>
                <a:lnTo>
                  <a:pt x="672875" y="807732"/>
                </a:lnTo>
                <a:cubicBezTo>
                  <a:pt x="679281" y="808532"/>
                  <a:pt x="684886" y="810134"/>
                  <a:pt x="691292" y="810934"/>
                </a:cubicBezTo>
                <a:lnTo>
                  <a:pt x="709708" y="814137"/>
                </a:lnTo>
                <a:cubicBezTo>
                  <a:pt x="721719" y="816539"/>
                  <a:pt x="733729" y="818141"/>
                  <a:pt x="746541" y="819742"/>
                </a:cubicBezTo>
                <a:lnTo>
                  <a:pt x="784174" y="823746"/>
                </a:lnTo>
                <a:cubicBezTo>
                  <a:pt x="789779" y="824547"/>
                  <a:pt x="796185" y="824547"/>
                  <a:pt x="802590" y="825347"/>
                </a:cubicBezTo>
                <a:lnTo>
                  <a:pt x="821007" y="826148"/>
                </a:lnTo>
                <a:cubicBezTo>
                  <a:pt x="844227" y="826949"/>
                  <a:pt x="868249" y="827749"/>
                  <a:pt x="891469" y="827749"/>
                </a:cubicBezTo>
                <a:lnTo>
                  <a:pt x="956327" y="1054350"/>
                </a:lnTo>
                <a:cubicBezTo>
                  <a:pt x="949921" y="1055151"/>
                  <a:pt x="944316" y="1055952"/>
                  <a:pt x="937910" y="1056752"/>
                </a:cubicBezTo>
                <a:lnTo>
                  <a:pt x="901078" y="1061557"/>
                </a:lnTo>
                <a:lnTo>
                  <a:pt x="864245" y="1063959"/>
                </a:lnTo>
                <a:lnTo>
                  <a:pt x="845829" y="1065560"/>
                </a:lnTo>
                <a:cubicBezTo>
                  <a:pt x="840224" y="1066361"/>
                  <a:pt x="833818" y="1066361"/>
                  <a:pt x="827412" y="1066361"/>
                </a:cubicBezTo>
                <a:lnTo>
                  <a:pt x="789779" y="1067162"/>
                </a:lnTo>
                <a:cubicBezTo>
                  <a:pt x="740135" y="1066361"/>
                  <a:pt x="690491" y="1064759"/>
                  <a:pt x="640847" y="1058354"/>
                </a:cubicBezTo>
                <a:lnTo>
                  <a:pt x="622431" y="1055952"/>
                </a:lnTo>
                <a:cubicBezTo>
                  <a:pt x="616025" y="1055151"/>
                  <a:pt x="610420" y="1053550"/>
                  <a:pt x="604014" y="1052749"/>
                </a:cubicBezTo>
                <a:lnTo>
                  <a:pt x="567182" y="1047144"/>
                </a:lnTo>
                <a:cubicBezTo>
                  <a:pt x="542360" y="1041539"/>
                  <a:pt x="517538" y="1037535"/>
                  <a:pt x="493516" y="1031130"/>
                </a:cubicBezTo>
                <a:cubicBezTo>
                  <a:pt x="468694" y="1025525"/>
                  <a:pt x="444673" y="1019119"/>
                  <a:pt x="420652" y="1011913"/>
                </a:cubicBezTo>
                <a:lnTo>
                  <a:pt x="384620" y="1000703"/>
                </a:lnTo>
                <a:cubicBezTo>
                  <a:pt x="373410" y="996699"/>
                  <a:pt x="361399" y="991895"/>
                  <a:pt x="349389" y="987891"/>
                </a:cubicBezTo>
                <a:cubicBezTo>
                  <a:pt x="302147" y="971076"/>
                  <a:pt x="255706" y="951059"/>
                  <a:pt x="210065" y="928639"/>
                </a:cubicBezTo>
                <a:cubicBezTo>
                  <a:pt x="164425" y="906219"/>
                  <a:pt x="120386" y="881397"/>
                  <a:pt x="77147" y="854173"/>
                </a:cubicBezTo>
                <a:cubicBezTo>
                  <a:pt x="65937" y="847767"/>
                  <a:pt x="55528" y="840561"/>
                  <a:pt x="45119" y="833354"/>
                </a:cubicBezTo>
                <a:cubicBezTo>
                  <a:pt x="41115" y="830952"/>
                  <a:pt x="36311" y="827749"/>
                  <a:pt x="32308" y="824547"/>
                </a:cubicBezTo>
                <a:cubicBezTo>
                  <a:pt x="36311" y="753283"/>
                  <a:pt x="-31749" y="674013"/>
                  <a:pt x="18695" y="610757"/>
                </a:cubicBezTo>
                <a:cubicBezTo>
                  <a:pt x="35510" y="573924"/>
                  <a:pt x="53927" y="538693"/>
                  <a:pt x="73944" y="505864"/>
                </a:cubicBezTo>
                <a:close/>
                <a:moveTo>
                  <a:pt x="1996449" y="501861"/>
                </a:moveTo>
                <a:cubicBezTo>
                  <a:pt x="2022072" y="518676"/>
                  <a:pt x="2047695" y="534690"/>
                  <a:pt x="2072517" y="551505"/>
                </a:cubicBezTo>
                <a:cubicBezTo>
                  <a:pt x="2079723" y="556309"/>
                  <a:pt x="2087730" y="561914"/>
                  <a:pt x="2094937" y="566719"/>
                </a:cubicBezTo>
                <a:cubicBezTo>
                  <a:pt x="2095737" y="566719"/>
                  <a:pt x="2095737" y="566719"/>
                  <a:pt x="2095737" y="566719"/>
                </a:cubicBezTo>
                <a:cubicBezTo>
                  <a:pt x="2097339" y="568320"/>
                  <a:pt x="2096538" y="572323"/>
                  <a:pt x="2095737" y="577128"/>
                </a:cubicBezTo>
                <a:cubicBezTo>
                  <a:pt x="2095737" y="578729"/>
                  <a:pt x="2094136" y="588338"/>
                  <a:pt x="2092534" y="600348"/>
                </a:cubicBezTo>
                <a:cubicBezTo>
                  <a:pt x="2060506" y="579530"/>
                  <a:pt x="2026076" y="554708"/>
                  <a:pt x="1991645" y="525082"/>
                </a:cubicBezTo>
                <a:cubicBezTo>
                  <a:pt x="1992446" y="513071"/>
                  <a:pt x="1994047" y="502662"/>
                  <a:pt x="1996449" y="501861"/>
                </a:cubicBezTo>
                <a:close/>
                <a:moveTo>
                  <a:pt x="2639419" y="483444"/>
                </a:moveTo>
                <a:lnTo>
                  <a:pt x="2596982" y="608355"/>
                </a:lnTo>
                <a:lnTo>
                  <a:pt x="2681857" y="608355"/>
                </a:lnTo>
                <a:close/>
                <a:moveTo>
                  <a:pt x="1178123" y="483444"/>
                </a:moveTo>
                <a:lnTo>
                  <a:pt x="1135686" y="608355"/>
                </a:lnTo>
                <a:lnTo>
                  <a:pt x="1220561" y="608355"/>
                </a:lnTo>
                <a:close/>
                <a:moveTo>
                  <a:pt x="1755435" y="473836"/>
                </a:moveTo>
                <a:lnTo>
                  <a:pt x="1755435" y="545099"/>
                </a:lnTo>
                <a:lnTo>
                  <a:pt x="1823495" y="545099"/>
                </a:lnTo>
                <a:cubicBezTo>
                  <a:pt x="1835506" y="545099"/>
                  <a:pt x="1845114" y="541896"/>
                  <a:pt x="1853121" y="535490"/>
                </a:cubicBezTo>
                <a:cubicBezTo>
                  <a:pt x="1861129" y="529085"/>
                  <a:pt x="1865132" y="520277"/>
                  <a:pt x="1865132" y="509067"/>
                </a:cubicBezTo>
                <a:cubicBezTo>
                  <a:pt x="1865132" y="498658"/>
                  <a:pt x="1861129" y="489850"/>
                  <a:pt x="1853121" y="483444"/>
                </a:cubicBezTo>
                <a:cubicBezTo>
                  <a:pt x="1845114" y="477039"/>
                  <a:pt x="1834705" y="473836"/>
                  <a:pt x="1823495" y="473836"/>
                </a:cubicBezTo>
                <a:close/>
                <a:moveTo>
                  <a:pt x="2002054" y="464227"/>
                </a:moveTo>
                <a:cubicBezTo>
                  <a:pt x="2025274" y="479440"/>
                  <a:pt x="2048495" y="494654"/>
                  <a:pt x="2071716" y="509867"/>
                </a:cubicBezTo>
                <a:cubicBezTo>
                  <a:pt x="2079723" y="514672"/>
                  <a:pt x="2086929" y="520277"/>
                  <a:pt x="2094936" y="525081"/>
                </a:cubicBezTo>
                <a:cubicBezTo>
                  <a:pt x="2096537" y="539494"/>
                  <a:pt x="2096537" y="555508"/>
                  <a:pt x="2095737" y="562714"/>
                </a:cubicBezTo>
                <a:cubicBezTo>
                  <a:pt x="2063708" y="541896"/>
                  <a:pt x="2029278" y="516273"/>
                  <a:pt x="1995648" y="486647"/>
                </a:cubicBezTo>
                <a:cubicBezTo>
                  <a:pt x="1996449" y="481042"/>
                  <a:pt x="1999652" y="473836"/>
                  <a:pt x="2002054" y="464227"/>
                </a:cubicBezTo>
                <a:close/>
                <a:moveTo>
                  <a:pt x="2013263" y="432199"/>
                </a:moveTo>
                <a:cubicBezTo>
                  <a:pt x="2036484" y="447412"/>
                  <a:pt x="2059705" y="462626"/>
                  <a:pt x="2082925" y="477839"/>
                </a:cubicBezTo>
                <a:cubicBezTo>
                  <a:pt x="2085327" y="478640"/>
                  <a:pt x="2086929" y="480242"/>
                  <a:pt x="2089331" y="481843"/>
                </a:cubicBezTo>
                <a:cubicBezTo>
                  <a:pt x="2090932" y="485847"/>
                  <a:pt x="2091733" y="488249"/>
                  <a:pt x="2091733" y="490651"/>
                </a:cubicBezTo>
                <a:cubicBezTo>
                  <a:pt x="2091733" y="495455"/>
                  <a:pt x="2093334" y="501861"/>
                  <a:pt x="2090132" y="501861"/>
                </a:cubicBezTo>
                <a:cubicBezTo>
                  <a:pt x="2091733" y="502661"/>
                  <a:pt x="2093334" y="510669"/>
                  <a:pt x="2094936" y="521878"/>
                </a:cubicBezTo>
                <a:cubicBezTo>
                  <a:pt x="2066110" y="502661"/>
                  <a:pt x="2036484" y="481042"/>
                  <a:pt x="2006057" y="455420"/>
                </a:cubicBezTo>
                <a:cubicBezTo>
                  <a:pt x="2007658" y="450615"/>
                  <a:pt x="2009260" y="445811"/>
                  <a:pt x="2010861" y="441007"/>
                </a:cubicBezTo>
                <a:cubicBezTo>
                  <a:pt x="2011662" y="437804"/>
                  <a:pt x="2012463" y="435402"/>
                  <a:pt x="2013263" y="432199"/>
                </a:cubicBezTo>
                <a:close/>
                <a:moveTo>
                  <a:pt x="2018869" y="402573"/>
                </a:moveTo>
                <a:cubicBezTo>
                  <a:pt x="2036485" y="413783"/>
                  <a:pt x="2054100" y="425794"/>
                  <a:pt x="2071716" y="437004"/>
                </a:cubicBezTo>
                <a:cubicBezTo>
                  <a:pt x="2073317" y="437804"/>
                  <a:pt x="2074118" y="438605"/>
                  <a:pt x="2075719" y="440206"/>
                </a:cubicBezTo>
                <a:cubicBezTo>
                  <a:pt x="2079723" y="453018"/>
                  <a:pt x="2084527" y="465829"/>
                  <a:pt x="2086929" y="475438"/>
                </a:cubicBezTo>
                <a:cubicBezTo>
                  <a:pt x="2063709" y="459423"/>
                  <a:pt x="2039687" y="441808"/>
                  <a:pt x="2015666" y="420989"/>
                </a:cubicBezTo>
                <a:cubicBezTo>
                  <a:pt x="2017267" y="415384"/>
                  <a:pt x="2018068" y="409779"/>
                  <a:pt x="2018869" y="404975"/>
                </a:cubicBezTo>
                <a:cubicBezTo>
                  <a:pt x="2018869" y="404174"/>
                  <a:pt x="2018869" y="403374"/>
                  <a:pt x="2018869" y="402573"/>
                </a:cubicBezTo>
                <a:close/>
                <a:moveTo>
                  <a:pt x="2585772" y="398569"/>
                </a:moveTo>
                <a:lnTo>
                  <a:pt x="2693067" y="398569"/>
                </a:lnTo>
                <a:lnTo>
                  <a:pt x="2818778" y="730063"/>
                </a:lnTo>
                <a:lnTo>
                  <a:pt x="2721892" y="730063"/>
                </a:lnTo>
                <a:lnTo>
                  <a:pt x="2705077" y="682020"/>
                </a:lnTo>
                <a:lnTo>
                  <a:pt x="2574562" y="682020"/>
                </a:lnTo>
                <a:lnTo>
                  <a:pt x="2557747" y="730063"/>
                </a:lnTo>
                <a:lnTo>
                  <a:pt x="2460861" y="730063"/>
                </a:lnTo>
                <a:close/>
                <a:moveTo>
                  <a:pt x="1669759" y="398569"/>
                </a:moveTo>
                <a:lnTo>
                  <a:pt x="1836307" y="398569"/>
                </a:lnTo>
                <a:cubicBezTo>
                  <a:pt x="1872339" y="398569"/>
                  <a:pt x="1900363" y="408978"/>
                  <a:pt x="1921182" y="429797"/>
                </a:cubicBezTo>
                <a:cubicBezTo>
                  <a:pt x="1942000" y="450615"/>
                  <a:pt x="1952410" y="477039"/>
                  <a:pt x="1952410" y="509067"/>
                </a:cubicBezTo>
                <a:cubicBezTo>
                  <a:pt x="1952410" y="535490"/>
                  <a:pt x="1945203" y="557110"/>
                  <a:pt x="1932392" y="573924"/>
                </a:cubicBezTo>
                <a:cubicBezTo>
                  <a:pt x="1919580" y="590739"/>
                  <a:pt x="1903566" y="601949"/>
                  <a:pt x="1885951" y="608355"/>
                </a:cubicBezTo>
                <a:lnTo>
                  <a:pt x="1954011" y="730864"/>
                </a:lnTo>
                <a:lnTo>
                  <a:pt x="1855524" y="730864"/>
                </a:lnTo>
                <a:lnTo>
                  <a:pt x="1799474" y="619565"/>
                </a:lnTo>
                <a:lnTo>
                  <a:pt x="1755435" y="619565"/>
                </a:lnTo>
                <a:lnTo>
                  <a:pt x="1755435" y="730063"/>
                </a:lnTo>
                <a:lnTo>
                  <a:pt x="1669759" y="730063"/>
                </a:lnTo>
                <a:close/>
                <a:moveTo>
                  <a:pt x="1381504" y="398569"/>
                </a:moveTo>
                <a:lnTo>
                  <a:pt x="1624920" y="398569"/>
                </a:lnTo>
                <a:lnTo>
                  <a:pt x="1624920" y="473035"/>
                </a:lnTo>
                <a:lnTo>
                  <a:pt x="1467180" y="473035"/>
                </a:lnTo>
                <a:lnTo>
                  <a:pt x="1467180" y="525081"/>
                </a:lnTo>
                <a:lnTo>
                  <a:pt x="1620916" y="525081"/>
                </a:lnTo>
                <a:lnTo>
                  <a:pt x="1620916" y="599547"/>
                </a:lnTo>
                <a:lnTo>
                  <a:pt x="1467180" y="599547"/>
                </a:lnTo>
                <a:lnTo>
                  <a:pt x="1467180" y="730864"/>
                </a:lnTo>
                <a:lnTo>
                  <a:pt x="1381504" y="730864"/>
                </a:lnTo>
                <a:close/>
                <a:moveTo>
                  <a:pt x="1124476" y="398569"/>
                </a:moveTo>
                <a:lnTo>
                  <a:pt x="1231771" y="398569"/>
                </a:lnTo>
                <a:lnTo>
                  <a:pt x="1357482" y="730063"/>
                </a:lnTo>
                <a:lnTo>
                  <a:pt x="1260596" y="730063"/>
                </a:lnTo>
                <a:lnTo>
                  <a:pt x="1243781" y="682020"/>
                </a:lnTo>
                <a:lnTo>
                  <a:pt x="1113266" y="682020"/>
                </a:lnTo>
                <a:lnTo>
                  <a:pt x="1096451" y="730063"/>
                </a:lnTo>
                <a:lnTo>
                  <a:pt x="999565" y="730063"/>
                </a:lnTo>
                <a:close/>
                <a:moveTo>
                  <a:pt x="2310328" y="395366"/>
                </a:moveTo>
                <a:cubicBezTo>
                  <a:pt x="2376787" y="395366"/>
                  <a:pt x="2425630" y="424992"/>
                  <a:pt x="2455256" y="484245"/>
                </a:cubicBezTo>
                <a:lnTo>
                  <a:pt x="2381591" y="518675"/>
                </a:lnTo>
                <a:cubicBezTo>
                  <a:pt x="2375986" y="505063"/>
                  <a:pt x="2366377" y="493853"/>
                  <a:pt x="2353566" y="484245"/>
                </a:cubicBezTo>
                <a:cubicBezTo>
                  <a:pt x="2339954" y="475437"/>
                  <a:pt x="2325541" y="470633"/>
                  <a:pt x="2310328" y="470633"/>
                </a:cubicBezTo>
                <a:cubicBezTo>
                  <a:pt x="2283104" y="470633"/>
                  <a:pt x="2261484" y="479441"/>
                  <a:pt x="2243869" y="497857"/>
                </a:cubicBezTo>
                <a:cubicBezTo>
                  <a:pt x="2226253" y="516273"/>
                  <a:pt x="2217445" y="538693"/>
                  <a:pt x="2217445" y="565917"/>
                </a:cubicBezTo>
                <a:cubicBezTo>
                  <a:pt x="2217445" y="593141"/>
                  <a:pt x="2226253" y="615561"/>
                  <a:pt x="2243869" y="633977"/>
                </a:cubicBezTo>
                <a:cubicBezTo>
                  <a:pt x="2261484" y="652394"/>
                  <a:pt x="2283104" y="661202"/>
                  <a:pt x="2310328" y="661202"/>
                </a:cubicBezTo>
                <a:cubicBezTo>
                  <a:pt x="2326342" y="661202"/>
                  <a:pt x="2340755" y="657198"/>
                  <a:pt x="2353566" y="647590"/>
                </a:cubicBezTo>
                <a:cubicBezTo>
                  <a:pt x="2366377" y="637981"/>
                  <a:pt x="2375986" y="626771"/>
                  <a:pt x="2381591" y="613159"/>
                </a:cubicBezTo>
                <a:lnTo>
                  <a:pt x="2455256" y="647590"/>
                </a:lnTo>
                <a:cubicBezTo>
                  <a:pt x="2442445" y="672412"/>
                  <a:pt x="2424829" y="694031"/>
                  <a:pt x="2400808" y="710846"/>
                </a:cubicBezTo>
                <a:cubicBezTo>
                  <a:pt x="2377587" y="728461"/>
                  <a:pt x="2347160" y="736468"/>
                  <a:pt x="2309527" y="738871"/>
                </a:cubicBezTo>
                <a:cubicBezTo>
                  <a:pt x="2258282" y="738871"/>
                  <a:pt x="2215844" y="722856"/>
                  <a:pt x="2181413" y="690828"/>
                </a:cubicBezTo>
                <a:cubicBezTo>
                  <a:pt x="2146983" y="658800"/>
                  <a:pt x="2130168" y="617963"/>
                  <a:pt x="2130168" y="567519"/>
                </a:cubicBezTo>
                <a:cubicBezTo>
                  <a:pt x="2130168" y="516273"/>
                  <a:pt x="2147784" y="475437"/>
                  <a:pt x="2181413" y="443409"/>
                </a:cubicBezTo>
                <a:cubicBezTo>
                  <a:pt x="2215844" y="411380"/>
                  <a:pt x="2258282" y="395366"/>
                  <a:pt x="2310328" y="395366"/>
                </a:cubicBezTo>
                <a:close/>
                <a:moveTo>
                  <a:pt x="2020470" y="377751"/>
                </a:moveTo>
                <a:cubicBezTo>
                  <a:pt x="2034883" y="387360"/>
                  <a:pt x="2048495" y="396167"/>
                  <a:pt x="2062908" y="405776"/>
                </a:cubicBezTo>
                <a:cubicBezTo>
                  <a:pt x="2064509" y="406577"/>
                  <a:pt x="2066110" y="408178"/>
                  <a:pt x="2067712" y="408979"/>
                </a:cubicBezTo>
                <a:cubicBezTo>
                  <a:pt x="2069313" y="416986"/>
                  <a:pt x="2071716" y="425794"/>
                  <a:pt x="2074118" y="433801"/>
                </a:cubicBezTo>
                <a:cubicBezTo>
                  <a:pt x="2056502" y="421790"/>
                  <a:pt x="2038086" y="408178"/>
                  <a:pt x="2020470" y="392964"/>
                </a:cubicBezTo>
                <a:cubicBezTo>
                  <a:pt x="2020470" y="387360"/>
                  <a:pt x="2020470" y="381755"/>
                  <a:pt x="2020470" y="377751"/>
                </a:cubicBezTo>
                <a:close/>
                <a:moveTo>
                  <a:pt x="2022072" y="345722"/>
                </a:moveTo>
                <a:cubicBezTo>
                  <a:pt x="2035684" y="355331"/>
                  <a:pt x="2049296" y="364138"/>
                  <a:pt x="2062908" y="372946"/>
                </a:cubicBezTo>
                <a:cubicBezTo>
                  <a:pt x="2064509" y="373747"/>
                  <a:pt x="2065310" y="374548"/>
                  <a:pt x="2066912" y="375348"/>
                </a:cubicBezTo>
                <a:cubicBezTo>
                  <a:pt x="2066111" y="376149"/>
                  <a:pt x="2066111" y="376149"/>
                  <a:pt x="2066111" y="376149"/>
                </a:cubicBezTo>
                <a:cubicBezTo>
                  <a:pt x="2066111" y="381754"/>
                  <a:pt x="2065310" y="394565"/>
                  <a:pt x="2066912" y="404174"/>
                </a:cubicBezTo>
                <a:cubicBezTo>
                  <a:pt x="2050897" y="392964"/>
                  <a:pt x="2034883" y="380953"/>
                  <a:pt x="2018869" y="367341"/>
                </a:cubicBezTo>
                <a:cubicBezTo>
                  <a:pt x="2019670" y="363338"/>
                  <a:pt x="2022072" y="358533"/>
                  <a:pt x="2022072" y="357733"/>
                </a:cubicBezTo>
                <a:cubicBezTo>
                  <a:pt x="2022072" y="356131"/>
                  <a:pt x="2022072" y="355331"/>
                  <a:pt x="2020470" y="353729"/>
                </a:cubicBezTo>
                <a:cubicBezTo>
                  <a:pt x="2018869" y="352928"/>
                  <a:pt x="2018869" y="350526"/>
                  <a:pt x="2019670" y="348124"/>
                </a:cubicBezTo>
                <a:cubicBezTo>
                  <a:pt x="2020470" y="347323"/>
                  <a:pt x="2021271" y="346523"/>
                  <a:pt x="2022072" y="345722"/>
                </a:cubicBezTo>
                <a:close/>
                <a:moveTo>
                  <a:pt x="2043691" y="344121"/>
                </a:moveTo>
                <a:cubicBezTo>
                  <a:pt x="2051699" y="344121"/>
                  <a:pt x="2059706" y="344922"/>
                  <a:pt x="2061307" y="344922"/>
                </a:cubicBezTo>
                <a:cubicBezTo>
                  <a:pt x="2062908" y="345722"/>
                  <a:pt x="2066111" y="346523"/>
                  <a:pt x="2066912" y="348925"/>
                </a:cubicBezTo>
                <a:cubicBezTo>
                  <a:pt x="2067713" y="350527"/>
                  <a:pt x="2067713" y="352929"/>
                  <a:pt x="2066111" y="354530"/>
                </a:cubicBezTo>
                <a:cubicBezTo>
                  <a:pt x="2064510" y="356132"/>
                  <a:pt x="2064510" y="357733"/>
                  <a:pt x="2064510" y="358534"/>
                </a:cubicBezTo>
                <a:cubicBezTo>
                  <a:pt x="2064510" y="360135"/>
                  <a:pt x="2068513" y="367342"/>
                  <a:pt x="2068513" y="370544"/>
                </a:cubicBezTo>
                <a:cubicBezTo>
                  <a:pt x="2068513" y="371345"/>
                  <a:pt x="2068513" y="372146"/>
                  <a:pt x="2069314" y="372947"/>
                </a:cubicBezTo>
                <a:cubicBezTo>
                  <a:pt x="2056503" y="364139"/>
                  <a:pt x="2043691" y="354530"/>
                  <a:pt x="2030880" y="344922"/>
                </a:cubicBezTo>
                <a:cubicBezTo>
                  <a:pt x="2034083" y="344121"/>
                  <a:pt x="2038887" y="344121"/>
                  <a:pt x="2043691" y="344121"/>
                </a:cubicBezTo>
                <a:close/>
                <a:moveTo>
                  <a:pt x="247699" y="283267"/>
                </a:moveTo>
                <a:cubicBezTo>
                  <a:pt x="279727" y="308890"/>
                  <a:pt x="313357" y="332911"/>
                  <a:pt x="347788" y="355331"/>
                </a:cubicBezTo>
                <a:cubicBezTo>
                  <a:pt x="426257" y="405776"/>
                  <a:pt x="510332" y="447413"/>
                  <a:pt x="599210" y="478640"/>
                </a:cubicBezTo>
                <a:cubicBezTo>
                  <a:pt x="643249" y="494654"/>
                  <a:pt x="688890" y="507466"/>
                  <a:pt x="734530" y="517875"/>
                </a:cubicBezTo>
                <a:cubicBezTo>
                  <a:pt x="780171" y="527483"/>
                  <a:pt x="826612" y="536291"/>
                  <a:pt x="873854" y="540295"/>
                </a:cubicBezTo>
                <a:cubicBezTo>
                  <a:pt x="885864" y="541096"/>
                  <a:pt x="897074" y="542697"/>
                  <a:pt x="909085" y="543498"/>
                </a:cubicBezTo>
                <a:lnTo>
                  <a:pt x="944316" y="545099"/>
                </a:lnTo>
                <a:lnTo>
                  <a:pt x="961932" y="545900"/>
                </a:lnTo>
                <a:cubicBezTo>
                  <a:pt x="967537" y="545900"/>
                  <a:pt x="973943" y="545900"/>
                  <a:pt x="979548" y="545900"/>
                </a:cubicBezTo>
                <a:lnTo>
                  <a:pt x="987555" y="545900"/>
                </a:lnTo>
                <a:lnTo>
                  <a:pt x="907484" y="759689"/>
                </a:lnTo>
                <a:cubicBezTo>
                  <a:pt x="902679" y="759689"/>
                  <a:pt x="898676" y="759689"/>
                  <a:pt x="894672" y="759689"/>
                </a:cubicBezTo>
                <a:lnTo>
                  <a:pt x="859441" y="760490"/>
                </a:lnTo>
                <a:lnTo>
                  <a:pt x="824210" y="759689"/>
                </a:lnTo>
                <a:cubicBezTo>
                  <a:pt x="728925" y="758088"/>
                  <a:pt x="634442" y="742874"/>
                  <a:pt x="542360" y="718853"/>
                </a:cubicBezTo>
                <a:cubicBezTo>
                  <a:pt x="450278" y="694031"/>
                  <a:pt x="359798" y="659601"/>
                  <a:pt x="274122" y="616362"/>
                </a:cubicBezTo>
                <a:cubicBezTo>
                  <a:pt x="230884" y="595544"/>
                  <a:pt x="188446" y="570722"/>
                  <a:pt x="147610" y="545099"/>
                </a:cubicBezTo>
                <a:cubicBezTo>
                  <a:pt x="127592" y="532288"/>
                  <a:pt x="107575" y="518676"/>
                  <a:pt x="87557" y="504263"/>
                </a:cubicBezTo>
                <a:cubicBezTo>
                  <a:pt x="84354" y="501861"/>
                  <a:pt x="81952" y="500259"/>
                  <a:pt x="78749" y="497857"/>
                </a:cubicBezTo>
                <a:cubicBezTo>
                  <a:pt x="124389" y="424993"/>
                  <a:pt x="180439" y="360936"/>
                  <a:pt x="247699" y="308890"/>
                </a:cubicBezTo>
                <a:cubicBezTo>
                  <a:pt x="246898" y="300082"/>
                  <a:pt x="246898" y="291274"/>
                  <a:pt x="247699" y="283267"/>
                </a:cubicBezTo>
                <a:close/>
                <a:moveTo>
                  <a:pt x="930352" y="48"/>
                </a:moveTo>
                <a:cubicBezTo>
                  <a:pt x="978509" y="2555"/>
                  <a:pt x="977545" y="102306"/>
                  <a:pt x="935508" y="130331"/>
                </a:cubicBezTo>
                <a:cubicBezTo>
                  <a:pt x="982750" y="209601"/>
                  <a:pt x="1101255" y="173569"/>
                  <a:pt x="1144494" y="256042"/>
                </a:cubicBezTo>
                <a:cubicBezTo>
                  <a:pt x="1369493" y="368142"/>
                  <a:pt x="1199743" y="163961"/>
                  <a:pt x="1379102" y="197590"/>
                </a:cubicBezTo>
                <a:cubicBezTo>
                  <a:pt x="1435952" y="240829"/>
                  <a:pt x="1537642" y="276861"/>
                  <a:pt x="1618514" y="263249"/>
                </a:cubicBezTo>
                <a:cubicBezTo>
                  <a:pt x="1676165" y="224815"/>
                  <a:pt x="1689777" y="270455"/>
                  <a:pt x="1703389" y="317697"/>
                </a:cubicBezTo>
                <a:cubicBezTo>
                  <a:pt x="1695382" y="320099"/>
                  <a:pt x="1688176" y="321700"/>
                  <a:pt x="1680168" y="324103"/>
                </a:cubicBezTo>
                <a:lnTo>
                  <a:pt x="1306237" y="324103"/>
                </a:lnTo>
                <a:lnTo>
                  <a:pt x="1306237" y="383355"/>
                </a:lnTo>
                <a:lnTo>
                  <a:pt x="1283817" y="324103"/>
                </a:lnTo>
                <a:lnTo>
                  <a:pt x="1072430" y="324103"/>
                </a:lnTo>
                <a:lnTo>
                  <a:pt x="1014779" y="477839"/>
                </a:lnTo>
                <a:cubicBezTo>
                  <a:pt x="1014779" y="477839"/>
                  <a:pt x="1013978" y="477839"/>
                  <a:pt x="1013978" y="477839"/>
                </a:cubicBezTo>
                <a:lnTo>
                  <a:pt x="980348" y="478640"/>
                </a:lnTo>
                <a:cubicBezTo>
                  <a:pt x="974743" y="478640"/>
                  <a:pt x="969138" y="478640"/>
                  <a:pt x="963533" y="478640"/>
                </a:cubicBezTo>
                <a:lnTo>
                  <a:pt x="946718" y="477839"/>
                </a:lnTo>
                <a:lnTo>
                  <a:pt x="913088" y="477038"/>
                </a:lnTo>
                <a:cubicBezTo>
                  <a:pt x="901878" y="476237"/>
                  <a:pt x="890669" y="475437"/>
                  <a:pt x="879459" y="474636"/>
                </a:cubicBezTo>
                <a:cubicBezTo>
                  <a:pt x="835420" y="471433"/>
                  <a:pt x="790580" y="465027"/>
                  <a:pt x="746541" y="457821"/>
                </a:cubicBezTo>
                <a:cubicBezTo>
                  <a:pt x="724922" y="453017"/>
                  <a:pt x="702502" y="449013"/>
                  <a:pt x="680883" y="443408"/>
                </a:cubicBezTo>
                <a:cubicBezTo>
                  <a:pt x="669673" y="441006"/>
                  <a:pt x="659263" y="438604"/>
                  <a:pt x="648053" y="435401"/>
                </a:cubicBezTo>
                <a:lnTo>
                  <a:pt x="615224" y="426593"/>
                </a:lnTo>
                <a:cubicBezTo>
                  <a:pt x="528748" y="401771"/>
                  <a:pt x="444673" y="367341"/>
                  <a:pt x="363802" y="325704"/>
                </a:cubicBezTo>
                <a:cubicBezTo>
                  <a:pt x="324567" y="305686"/>
                  <a:pt x="286133" y="283266"/>
                  <a:pt x="249300" y="260046"/>
                </a:cubicBezTo>
                <a:cubicBezTo>
                  <a:pt x="260510" y="200793"/>
                  <a:pt x="300545" y="170366"/>
                  <a:pt x="356595" y="130331"/>
                </a:cubicBezTo>
                <a:cubicBezTo>
                  <a:pt x="380616" y="16630"/>
                  <a:pt x="407841" y="99904"/>
                  <a:pt x="483107" y="80687"/>
                </a:cubicBezTo>
                <a:cubicBezTo>
                  <a:pt x="545563" y="111914"/>
                  <a:pt x="620829" y="14228"/>
                  <a:pt x="698498" y="19833"/>
                </a:cubicBezTo>
                <a:cubicBezTo>
                  <a:pt x="767359" y="11025"/>
                  <a:pt x="837822" y="23836"/>
                  <a:pt x="906683" y="5420"/>
                </a:cubicBezTo>
                <a:cubicBezTo>
                  <a:pt x="915591" y="1316"/>
                  <a:pt x="923473" y="-310"/>
                  <a:pt x="930352" y="48"/>
                </a:cubicBezTo>
                <a:close/>
              </a:path>
            </a:pathLst>
          </a:custGeom>
          <a:solidFill>
            <a:srgbClr val="FFFFFF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sz="1400" dirty="0"/>
          </a:p>
        </p:txBody>
      </p:sp>
      <p:sp>
        <p:nvSpPr>
          <p:cNvPr id="50" name="Graphic 6">
            <a:extLst>
              <a:ext uri="{FF2B5EF4-FFF2-40B4-BE49-F238E27FC236}">
                <a16:creationId xmlns:a16="http://schemas.microsoft.com/office/drawing/2014/main" id="{031912A8-684E-4A2E-A20F-3BEC1230EB86}"/>
              </a:ext>
            </a:extLst>
          </p:cNvPr>
          <p:cNvSpPr/>
          <p:nvPr userDrawn="1"/>
        </p:nvSpPr>
        <p:spPr>
          <a:xfrm>
            <a:off x="469594" y="507253"/>
            <a:ext cx="1848503" cy="567840"/>
          </a:xfrm>
          <a:custGeom>
            <a:avLst/>
            <a:gdLst>
              <a:gd name="connsiteX0" fmla="*/ 652241 w 1848503"/>
              <a:gd name="connsiteY0" fmla="*/ 475419 h 567840"/>
              <a:gd name="connsiteX1" fmla="*/ 565958 w 1848503"/>
              <a:gd name="connsiteY1" fmla="*/ 466645 h 567840"/>
              <a:gd name="connsiteX2" fmla="*/ 462126 w 1848503"/>
              <a:gd name="connsiteY2" fmla="*/ 478344 h 567840"/>
              <a:gd name="connsiteX3" fmla="*/ 293947 w 1848503"/>
              <a:gd name="connsiteY3" fmla="*/ 522217 h 567840"/>
              <a:gd name="connsiteX4" fmla="*/ 200352 w 1848503"/>
              <a:gd name="connsiteY4" fmla="*/ 536841 h 567840"/>
              <a:gd name="connsiteX5" fmla="*/ 168179 w 1848503"/>
              <a:gd name="connsiteY5" fmla="*/ 533916 h 567840"/>
              <a:gd name="connsiteX6" fmla="*/ 141855 w 1848503"/>
              <a:gd name="connsiteY6" fmla="*/ 526604 h 567840"/>
              <a:gd name="connsiteX7" fmla="*/ 122844 w 1848503"/>
              <a:gd name="connsiteY7" fmla="*/ 516367 h 567840"/>
              <a:gd name="connsiteX8" fmla="*/ 108219 w 1848503"/>
              <a:gd name="connsiteY8" fmla="*/ 503205 h 567840"/>
              <a:gd name="connsiteX9" fmla="*/ 97982 w 1848503"/>
              <a:gd name="connsiteY9" fmla="*/ 487119 h 567840"/>
              <a:gd name="connsiteX10" fmla="*/ 90670 w 1848503"/>
              <a:gd name="connsiteY10" fmla="*/ 469570 h 567840"/>
              <a:gd name="connsiteX11" fmla="*/ 87745 w 1848503"/>
              <a:gd name="connsiteY11" fmla="*/ 447633 h 567840"/>
              <a:gd name="connsiteX12" fmla="*/ 87745 w 1848503"/>
              <a:gd name="connsiteY12" fmla="*/ 424235 h 567840"/>
              <a:gd name="connsiteX13" fmla="*/ 96520 w 1848503"/>
              <a:gd name="connsiteY13" fmla="*/ 383287 h 567840"/>
              <a:gd name="connsiteX14" fmla="*/ 121381 w 1848503"/>
              <a:gd name="connsiteY14" fmla="*/ 320403 h 567840"/>
              <a:gd name="connsiteX15" fmla="*/ 168179 w 1848503"/>
              <a:gd name="connsiteY15" fmla="*/ 237044 h 567840"/>
              <a:gd name="connsiteX16" fmla="*/ 226676 w 1848503"/>
              <a:gd name="connsiteY16" fmla="*/ 153686 h 567840"/>
              <a:gd name="connsiteX17" fmla="*/ 280785 w 1848503"/>
              <a:gd name="connsiteY17" fmla="*/ 93727 h 567840"/>
              <a:gd name="connsiteX18" fmla="*/ 323196 w 1848503"/>
              <a:gd name="connsiteY18" fmla="*/ 57166 h 567840"/>
              <a:gd name="connsiteX19" fmla="*/ 353907 w 1848503"/>
              <a:gd name="connsiteY19" fmla="*/ 38155 h 567840"/>
              <a:gd name="connsiteX20" fmla="*/ 377305 w 1848503"/>
              <a:gd name="connsiteY20" fmla="*/ 29380 h 567840"/>
              <a:gd name="connsiteX21" fmla="*/ 396317 w 1848503"/>
              <a:gd name="connsiteY21" fmla="*/ 26455 h 567840"/>
              <a:gd name="connsiteX22" fmla="*/ 406554 w 1848503"/>
              <a:gd name="connsiteY22" fmla="*/ 29380 h 567840"/>
              <a:gd name="connsiteX23" fmla="*/ 409479 w 1848503"/>
              <a:gd name="connsiteY23" fmla="*/ 39617 h 567840"/>
              <a:gd name="connsiteX24" fmla="*/ 409479 w 1848503"/>
              <a:gd name="connsiteY24" fmla="*/ 46929 h 567840"/>
              <a:gd name="connsiteX25" fmla="*/ 383155 w 1848503"/>
              <a:gd name="connsiteY25" fmla="*/ 64478 h 567840"/>
              <a:gd name="connsiteX26" fmla="*/ 374381 w 1848503"/>
              <a:gd name="connsiteY26" fmla="*/ 73253 h 567840"/>
              <a:gd name="connsiteX27" fmla="*/ 364144 w 1848503"/>
              <a:gd name="connsiteY27" fmla="*/ 92265 h 567840"/>
              <a:gd name="connsiteX28" fmla="*/ 371456 w 1848503"/>
              <a:gd name="connsiteY28" fmla="*/ 106889 h 567840"/>
              <a:gd name="connsiteX29" fmla="*/ 409479 w 1848503"/>
              <a:gd name="connsiteY29" fmla="*/ 93727 h 567840"/>
              <a:gd name="connsiteX30" fmla="*/ 416791 w 1848503"/>
              <a:gd name="connsiteY30" fmla="*/ 83490 h 567840"/>
              <a:gd name="connsiteX31" fmla="*/ 422640 w 1848503"/>
              <a:gd name="connsiteY31" fmla="*/ 70328 h 567840"/>
              <a:gd name="connsiteX32" fmla="*/ 422640 w 1848503"/>
              <a:gd name="connsiteY32" fmla="*/ 19143 h 567840"/>
              <a:gd name="connsiteX33" fmla="*/ 413866 w 1848503"/>
              <a:gd name="connsiteY33" fmla="*/ 10369 h 567840"/>
              <a:gd name="connsiteX34" fmla="*/ 400704 w 1848503"/>
              <a:gd name="connsiteY34" fmla="*/ 4519 h 567840"/>
              <a:gd name="connsiteX35" fmla="*/ 381693 w 1848503"/>
              <a:gd name="connsiteY35" fmla="*/ 3057 h 567840"/>
              <a:gd name="connsiteX36" fmla="*/ 349519 w 1848503"/>
              <a:gd name="connsiteY36" fmla="*/ 7444 h 567840"/>
              <a:gd name="connsiteX37" fmla="*/ 307109 w 1848503"/>
              <a:gd name="connsiteY37" fmla="*/ 22068 h 567840"/>
              <a:gd name="connsiteX38" fmla="*/ 254462 w 1848503"/>
              <a:gd name="connsiteY38" fmla="*/ 51317 h 567840"/>
              <a:gd name="connsiteX39" fmla="*/ 191578 w 1848503"/>
              <a:gd name="connsiteY39" fmla="*/ 99577 h 567840"/>
              <a:gd name="connsiteX40" fmla="*/ 125768 w 1848503"/>
              <a:gd name="connsiteY40" fmla="*/ 166848 h 567840"/>
              <a:gd name="connsiteX41" fmla="*/ 30711 w 1848503"/>
              <a:gd name="connsiteY41" fmla="*/ 311628 h 567840"/>
              <a:gd name="connsiteX42" fmla="*/ 8775 w 1848503"/>
              <a:gd name="connsiteY42" fmla="*/ 368662 h 567840"/>
              <a:gd name="connsiteX43" fmla="*/ 0 w 1848503"/>
              <a:gd name="connsiteY43" fmla="*/ 413998 h 567840"/>
              <a:gd name="connsiteX44" fmla="*/ 4387 w 1848503"/>
              <a:gd name="connsiteY44" fmla="*/ 472495 h 567840"/>
              <a:gd name="connsiteX45" fmla="*/ 10237 w 1848503"/>
              <a:gd name="connsiteY45" fmla="*/ 492968 h 567840"/>
              <a:gd name="connsiteX46" fmla="*/ 19012 w 1848503"/>
              <a:gd name="connsiteY46" fmla="*/ 510518 h 567840"/>
              <a:gd name="connsiteX47" fmla="*/ 30711 w 1848503"/>
              <a:gd name="connsiteY47" fmla="*/ 526604 h 567840"/>
              <a:gd name="connsiteX48" fmla="*/ 46798 w 1848503"/>
              <a:gd name="connsiteY48" fmla="*/ 539766 h 567840"/>
              <a:gd name="connsiteX49" fmla="*/ 70196 w 1848503"/>
              <a:gd name="connsiteY49" fmla="*/ 551465 h 567840"/>
              <a:gd name="connsiteX50" fmla="*/ 102370 w 1848503"/>
              <a:gd name="connsiteY50" fmla="*/ 560240 h 567840"/>
              <a:gd name="connsiteX51" fmla="*/ 146242 w 1848503"/>
              <a:gd name="connsiteY51" fmla="*/ 563165 h 567840"/>
              <a:gd name="connsiteX52" fmla="*/ 235450 w 1848503"/>
              <a:gd name="connsiteY52" fmla="*/ 552928 h 567840"/>
              <a:gd name="connsiteX53" fmla="*/ 375843 w 1848503"/>
              <a:gd name="connsiteY53" fmla="*/ 519292 h 567840"/>
              <a:gd name="connsiteX54" fmla="*/ 466513 w 1848503"/>
              <a:gd name="connsiteY54" fmla="*/ 509055 h 567840"/>
              <a:gd name="connsiteX55" fmla="*/ 508924 w 1848503"/>
              <a:gd name="connsiteY55" fmla="*/ 511980 h 567840"/>
              <a:gd name="connsiteX56" fmla="*/ 539634 w 1848503"/>
              <a:gd name="connsiteY56" fmla="*/ 520755 h 567840"/>
              <a:gd name="connsiteX57" fmla="*/ 564496 w 1848503"/>
              <a:gd name="connsiteY57" fmla="*/ 536841 h 567840"/>
              <a:gd name="connsiteX58" fmla="*/ 590819 w 1848503"/>
              <a:gd name="connsiteY58" fmla="*/ 563165 h 567840"/>
              <a:gd name="connsiteX59" fmla="*/ 665403 w 1848503"/>
              <a:gd name="connsiteY59" fmla="*/ 530991 h 567840"/>
              <a:gd name="connsiteX60" fmla="*/ 694651 w 1848503"/>
              <a:gd name="connsiteY60" fmla="*/ 528067 h 567840"/>
              <a:gd name="connsiteX61" fmla="*/ 707813 w 1848503"/>
              <a:gd name="connsiteY61" fmla="*/ 529529 h 567840"/>
              <a:gd name="connsiteX62" fmla="*/ 732674 w 1848503"/>
              <a:gd name="connsiteY62" fmla="*/ 535379 h 567840"/>
              <a:gd name="connsiteX63" fmla="*/ 795559 w 1848503"/>
              <a:gd name="connsiteY63" fmla="*/ 558778 h 567840"/>
              <a:gd name="connsiteX64" fmla="*/ 722437 w 1848503"/>
              <a:gd name="connsiteY64" fmla="*/ 503205 h 567840"/>
              <a:gd name="connsiteX65" fmla="*/ 652241 w 1848503"/>
              <a:gd name="connsiteY65" fmla="*/ 475419 h 567840"/>
              <a:gd name="connsiteX66" fmla="*/ 960812 w 1848503"/>
              <a:gd name="connsiteY66" fmla="*/ 147837 h 567840"/>
              <a:gd name="connsiteX67" fmla="*/ 905240 w 1848503"/>
              <a:gd name="connsiteY67" fmla="*/ 147837 h 567840"/>
              <a:gd name="connsiteX68" fmla="*/ 877454 w 1848503"/>
              <a:gd name="connsiteY68" fmla="*/ 199021 h 567840"/>
              <a:gd name="connsiteX69" fmla="*/ 931564 w 1848503"/>
              <a:gd name="connsiteY69" fmla="*/ 199021 h 567840"/>
              <a:gd name="connsiteX70" fmla="*/ 960812 w 1848503"/>
              <a:gd name="connsiteY70" fmla="*/ 147837 h 567840"/>
              <a:gd name="connsiteX71" fmla="*/ 1775383 w 1848503"/>
              <a:gd name="connsiteY71" fmla="*/ 58629 h 567840"/>
              <a:gd name="connsiteX72" fmla="*/ 1708111 w 1848503"/>
              <a:gd name="connsiteY72" fmla="*/ 87877 h 567840"/>
              <a:gd name="connsiteX73" fmla="*/ 1630603 w 1848503"/>
              <a:gd name="connsiteY73" fmla="*/ 96652 h 567840"/>
              <a:gd name="connsiteX74" fmla="*/ 1582343 w 1848503"/>
              <a:gd name="connsiteY74" fmla="*/ 155149 h 567840"/>
              <a:gd name="connsiteX75" fmla="*/ 1594042 w 1848503"/>
              <a:gd name="connsiteY75" fmla="*/ 156611 h 567840"/>
              <a:gd name="connsiteX76" fmla="*/ 1617441 w 1848503"/>
              <a:gd name="connsiteY76" fmla="*/ 158074 h 567840"/>
              <a:gd name="connsiteX77" fmla="*/ 1670088 w 1848503"/>
              <a:gd name="connsiteY77" fmla="*/ 150761 h 567840"/>
              <a:gd name="connsiteX78" fmla="*/ 1781232 w 1848503"/>
              <a:gd name="connsiteY78" fmla="*/ 92265 h 567840"/>
              <a:gd name="connsiteX79" fmla="*/ 1822180 w 1848503"/>
              <a:gd name="connsiteY79" fmla="*/ 49854 h 567840"/>
              <a:gd name="connsiteX80" fmla="*/ 1848504 w 1848503"/>
              <a:gd name="connsiteY80" fmla="*/ 5982 h 567840"/>
              <a:gd name="connsiteX81" fmla="*/ 1775383 w 1848503"/>
              <a:gd name="connsiteY81" fmla="*/ 58629 h 567840"/>
              <a:gd name="connsiteX82" fmla="*/ 1712498 w 1848503"/>
              <a:gd name="connsiteY82" fmla="*/ 427159 h 567840"/>
              <a:gd name="connsiteX83" fmla="*/ 1683250 w 1848503"/>
              <a:gd name="connsiteY83" fmla="*/ 463720 h 567840"/>
              <a:gd name="connsiteX84" fmla="*/ 1662776 w 1848503"/>
              <a:gd name="connsiteY84" fmla="*/ 485656 h 567840"/>
              <a:gd name="connsiteX85" fmla="*/ 1651077 w 1848503"/>
              <a:gd name="connsiteY85" fmla="*/ 495893 h 567840"/>
              <a:gd name="connsiteX86" fmla="*/ 1643764 w 1848503"/>
              <a:gd name="connsiteY86" fmla="*/ 501743 h 567840"/>
              <a:gd name="connsiteX87" fmla="*/ 1632065 w 1848503"/>
              <a:gd name="connsiteY87" fmla="*/ 504668 h 567840"/>
              <a:gd name="connsiteX88" fmla="*/ 1627678 w 1848503"/>
              <a:gd name="connsiteY88" fmla="*/ 497356 h 567840"/>
              <a:gd name="connsiteX89" fmla="*/ 1632065 w 1848503"/>
              <a:gd name="connsiteY89" fmla="*/ 487119 h 567840"/>
              <a:gd name="connsiteX90" fmla="*/ 1652539 w 1848503"/>
              <a:gd name="connsiteY90" fmla="*/ 447633 h 567840"/>
              <a:gd name="connsiteX91" fmla="*/ 1749059 w 1848503"/>
              <a:gd name="connsiteY91" fmla="*/ 283842 h 567840"/>
              <a:gd name="connsiteX92" fmla="*/ 1702261 w 1848503"/>
              <a:gd name="connsiteY92" fmla="*/ 283842 h 567840"/>
              <a:gd name="connsiteX93" fmla="*/ 1686175 w 1848503"/>
              <a:gd name="connsiteY93" fmla="*/ 298466 h 567840"/>
              <a:gd name="connsiteX94" fmla="*/ 1670088 w 1848503"/>
              <a:gd name="connsiteY94" fmla="*/ 288229 h 567840"/>
              <a:gd name="connsiteX95" fmla="*/ 1659851 w 1848503"/>
              <a:gd name="connsiteY95" fmla="*/ 285304 h 567840"/>
              <a:gd name="connsiteX96" fmla="*/ 1651077 w 1848503"/>
              <a:gd name="connsiteY96" fmla="*/ 283842 h 567840"/>
              <a:gd name="connsiteX97" fmla="*/ 1601354 w 1848503"/>
              <a:gd name="connsiteY97" fmla="*/ 299929 h 567840"/>
              <a:gd name="connsiteX98" fmla="*/ 1583805 w 1848503"/>
              <a:gd name="connsiteY98" fmla="*/ 311628 h 567840"/>
              <a:gd name="connsiteX99" fmla="*/ 1561869 w 1848503"/>
              <a:gd name="connsiteY99" fmla="*/ 330639 h 567840"/>
              <a:gd name="connsiteX100" fmla="*/ 1526771 w 1848503"/>
              <a:gd name="connsiteY100" fmla="*/ 370125 h 567840"/>
              <a:gd name="connsiteX101" fmla="*/ 1466811 w 1848503"/>
              <a:gd name="connsiteY101" fmla="*/ 449096 h 567840"/>
              <a:gd name="connsiteX102" fmla="*/ 1431713 w 1848503"/>
              <a:gd name="connsiteY102" fmla="*/ 492968 h 567840"/>
              <a:gd name="connsiteX103" fmla="*/ 1418551 w 1848503"/>
              <a:gd name="connsiteY103" fmla="*/ 506130 h 567840"/>
              <a:gd name="connsiteX104" fmla="*/ 1411239 w 1848503"/>
              <a:gd name="connsiteY104" fmla="*/ 510518 h 567840"/>
              <a:gd name="connsiteX105" fmla="*/ 1403927 w 1848503"/>
              <a:gd name="connsiteY105" fmla="*/ 511980 h 567840"/>
              <a:gd name="connsiteX106" fmla="*/ 1393690 w 1848503"/>
              <a:gd name="connsiteY106" fmla="*/ 500281 h 567840"/>
              <a:gd name="connsiteX107" fmla="*/ 1396615 w 1848503"/>
              <a:gd name="connsiteY107" fmla="*/ 475419 h 567840"/>
              <a:gd name="connsiteX108" fmla="*/ 1406852 w 1848503"/>
              <a:gd name="connsiteY108" fmla="*/ 441784 h 567840"/>
              <a:gd name="connsiteX109" fmla="*/ 1424401 w 1848503"/>
              <a:gd name="connsiteY109" fmla="*/ 392061 h 567840"/>
              <a:gd name="connsiteX110" fmla="*/ 1523846 w 1848503"/>
              <a:gd name="connsiteY110" fmla="*/ 320403 h 567840"/>
              <a:gd name="connsiteX111" fmla="*/ 1589655 w 1848503"/>
              <a:gd name="connsiteY111" fmla="*/ 256056 h 567840"/>
              <a:gd name="connsiteX112" fmla="*/ 1648152 w 1848503"/>
              <a:gd name="connsiteY112" fmla="*/ 177085 h 567840"/>
              <a:gd name="connsiteX113" fmla="*/ 1626215 w 1848503"/>
              <a:gd name="connsiteY113" fmla="*/ 180010 h 567840"/>
              <a:gd name="connsiteX114" fmla="*/ 1579418 w 1848503"/>
              <a:gd name="connsiteY114" fmla="*/ 239969 h 567840"/>
              <a:gd name="connsiteX115" fmla="*/ 1517996 w 1848503"/>
              <a:gd name="connsiteY115" fmla="*/ 301391 h 567840"/>
              <a:gd name="connsiteX116" fmla="*/ 1444875 w 1848503"/>
              <a:gd name="connsiteY116" fmla="*/ 358426 h 567840"/>
              <a:gd name="connsiteX117" fmla="*/ 1496060 w 1848503"/>
              <a:gd name="connsiteY117" fmla="*/ 267755 h 567840"/>
              <a:gd name="connsiteX118" fmla="*/ 1551632 w 1848503"/>
              <a:gd name="connsiteY118" fmla="*/ 182935 h 567840"/>
              <a:gd name="connsiteX119" fmla="*/ 1605741 w 1848503"/>
              <a:gd name="connsiteY119" fmla="*/ 112738 h 567840"/>
              <a:gd name="connsiteX120" fmla="*/ 1649614 w 1848503"/>
              <a:gd name="connsiteY120" fmla="*/ 65941 h 567840"/>
              <a:gd name="connsiteX121" fmla="*/ 1678863 w 1848503"/>
              <a:gd name="connsiteY121" fmla="*/ 41080 h 567840"/>
              <a:gd name="connsiteX122" fmla="*/ 1694949 w 1848503"/>
              <a:gd name="connsiteY122" fmla="*/ 30843 h 567840"/>
              <a:gd name="connsiteX123" fmla="*/ 1703724 w 1848503"/>
              <a:gd name="connsiteY123" fmla="*/ 27918 h 567840"/>
              <a:gd name="connsiteX124" fmla="*/ 1708111 w 1848503"/>
              <a:gd name="connsiteY124" fmla="*/ 29380 h 567840"/>
              <a:gd name="connsiteX125" fmla="*/ 1711036 w 1848503"/>
              <a:gd name="connsiteY125" fmla="*/ 41080 h 567840"/>
              <a:gd name="connsiteX126" fmla="*/ 1708111 w 1848503"/>
              <a:gd name="connsiteY126" fmla="*/ 49854 h 567840"/>
              <a:gd name="connsiteX127" fmla="*/ 1697874 w 1848503"/>
              <a:gd name="connsiteY127" fmla="*/ 74715 h 567840"/>
              <a:gd name="connsiteX128" fmla="*/ 1716886 w 1848503"/>
              <a:gd name="connsiteY128" fmla="*/ 71791 h 567840"/>
              <a:gd name="connsiteX129" fmla="*/ 1725660 w 1848503"/>
              <a:gd name="connsiteY129" fmla="*/ 55704 h 567840"/>
              <a:gd name="connsiteX130" fmla="*/ 1728585 w 1848503"/>
              <a:gd name="connsiteY130" fmla="*/ 46929 h 567840"/>
              <a:gd name="connsiteX131" fmla="*/ 1730047 w 1848503"/>
              <a:gd name="connsiteY131" fmla="*/ 38155 h 567840"/>
              <a:gd name="connsiteX132" fmla="*/ 1719810 w 1848503"/>
              <a:gd name="connsiteY132" fmla="*/ 11831 h 567840"/>
              <a:gd name="connsiteX133" fmla="*/ 1712498 w 1848503"/>
              <a:gd name="connsiteY133" fmla="*/ 7444 h 567840"/>
              <a:gd name="connsiteX134" fmla="*/ 1681787 w 1848503"/>
              <a:gd name="connsiteY134" fmla="*/ 8906 h 567840"/>
              <a:gd name="connsiteX135" fmla="*/ 1652539 w 1848503"/>
              <a:gd name="connsiteY135" fmla="*/ 20606 h 567840"/>
              <a:gd name="connsiteX136" fmla="*/ 1613053 w 1848503"/>
              <a:gd name="connsiteY136" fmla="*/ 46929 h 567840"/>
              <a:gd name="connsiteX137" fmla="*/ 1558944 w 1848503"/>
              <a:gd name="connsiteY137" fmla="*/ 98114 h 567840"/>
              <a:gd name="connsiteX138" fmla="*/ 1491672 w 1848503"/>
              <a:gd name="connsiteY138" fmla="*/ 178547 h 567840"/>
              <a:gd name="connsiteX139" fmla="*/ 1420014 w 1848503"/>
              <a:gd name="connsiteY139" fmla="*/ 282380 h 567840"/>
              <a:gd name="connsiteX140" fmla="*/ 1358592 w 1848503"/>
              <a:gd name="connsiteY140" fmla="*/ 394986 h 567840"/>
              <a:gd name="connsiteX141" fmla="*/ 1332268 w 1848503"/>
              <a:gd name="connsiteY141" fmla="*/ 394986 h 567840"/>
              <a:gd name="connsiteX142" fmla="*/ 1345430 w 1848503"/>
              <a:gd name="connsiteY142" fmla="*/ 365738 h 567840"/>
              <a:gd name="connsiteX143" fmla="*/ 1351280 w 1848503"/>
              <a:gd name="connsiteY143" fmla="*/ 348189 h 567840"/>
              <a:gd name="connsiteX144" fmla="*/ 1349817 w 1848503"/>
              <a:gd name="connsiteY144" fmla="*/ 308703 h 567840"/>
              <a:gd name="connsiteX145" fmla="*/ 1343968 w 1848503"/>
              <a:gd name="connsiteY145" fmla="*/ 299929 h 567840"/>
              <a:gd name="connsiteX146" fmla="*/ 1317644 w 1848503"/>
              <a:gd name="connsiteY146" fmla="*/ 288229 h 567840"/>
              <a:gd name="connsiteX147" fmla="*/ 1303020 w 1848503"/>
              <a:gd name="connsiteY147" fmla="*/ 291154 h 567840"/>
              <a:gd name="connsiteX148" fmla="*/ 1282546 w 1848503"/>
              <a:gd name="connsiteY148" fmla="*/ 298466 h 567840"/>
              <a:gd name="connsiteX149" fmla="*/ 1257685 w 1848503"/>
              <a:gd name="connsiteY149" fmla="*/ 313090 h 567840"/>
              <a:gd name="connsiteX150" fmla="*/ 1226974 w 1848503"/>
              <a:gd name="connsiteY150" fmla="*/ 339414 h 567840"/>
              <a:gd name="connsiteX151" fmla="*/ 1193338 w 1848503"/>
              <a:gd name="connsiteY151" fmla="*/ 375975 h 567840"/>
              <a:gd name="connsiteX152" fmla="*/ 1142153 w 1848503"/>
              <a:gd name="connsiteY152" fmla="*/ 457870 h 567840"/>
              <a:gd name="connsiteX153" fmla="*/ 1130454 w 1848503"/>
              <a:gd name="connsiteY153" fmla="*/ 490044 h 567840"/>
              <a:gd name="connsiteX154" fmla="*/ 1126066 w 1848503"/>
              <a:gd name="connsiteY154" fmla="*/ 514905 h 567840"/>
              <a:gd name="connsiteX155" fmla="*/ 1126066 w 1848503"/>
              <a:gd name="connsiteY155" fmla="*/ 532454 h 567840"/>
              <a:gd name="connsiteX156" fmla="*/ 1130454 w 1848503"/>
              <a:gd name="connsiteY156" fmla="*/ 547078 h 567840"/>
              <a:gd name="connsiteX157" fmla="*/ 1139228 w 1848503"/>
              <a:gd name="connsiteY157" fmla="*/ 557315 h 567840"/>
              <a:gd name="connsiteX158" fmla="*/ 1150928 w 1848503"/>
              <a:gd name="connsiteY158" fmla="*/ 564627 h 567840"/>
              <a:gd name="connsiteX159" fmla="*/ 1165552 w 1848503"/>
              <a:gd name="connsiteY159" fmla="*/ 567552 h 567840"/>
              <a:gd name="connsiteX160" fmla="*/ 1197725 w 1848503"/>
              <a:gd name="connsiteY160" fmla="*/ 558778 h 567840"/>
              <a:gd name="connsiteX161" fmla="*/ 1219662 w 1848503"/>
              <a:gd name="connsiteY161" fmla="*/ 545616 h 567840"/>
              <a:gd name="connsiteX162" fmla="*/ 1247448 w 1848503"/>
              <a:gd name="connsiteY162" fmla="*/ 520755 h 567840"/>
              <a:gd name="connsiteX163" fmla="*/ 1282546 w 1848503"/>
              <a:gd name="connsiteY163" fmla="*/ 478344 h 567840"/>
              <a:gd name="connsiteX164" fmla="*/ 1324956 w 1848503"/>
              <a:gd name="connsiteY164" fmla="*/ 415460 h 567840"/>
              <a:gd name="connsiteX165" fmla="*/ 1351280 w 1848503"/>
              <a:gd name="connsiteY165" fmla="*/ 415460 h 567840"/>
              <a:gd name="connsiteX166" fmla="*/ 1329343 w 1848503"/>
              <a:gd name="connsiteY166" fmla="*/ 475419 h 567840"/>
              <a:gd name="connsiteX167" fmla="*/ 1322031 w 1848503"/>
              <a:gd name="connsiteY167" fmla="*/ 501743 h 567840"/>
              <a:gd name="connsiteX168" fmla="*/ 1319106 w 1848503"/>
              <a:gd name="connsiteY168" fmla="*/ 532454 h 567840"/>
              <a:gd name="connsiteX169" fmla="*/ 1322031 w 1848503"/>
              <a:gd name="connsiteY169" fmla="*/ 544153 h 567840"/>
              <a:gd name="connsiteX170" fmla="*/ 1326418 w 1848503"/>
              <a:gd name="connsiteY170" fmla="*/ 554390 h 567840"/>
              <a:gd name="connsiteX171" fmla="*/ 1333731 w 1848503"/>
              <a:gd name="connsiteY171" fmla="*/ 561702 h 567840"/>
              <a:gd name="connsiteX172" fmla="*/ 1343968 w 1848503"/>
              <a:gd name="connsiteY172" fmla="*/ 566090 h 567840"/>
              <a:gd name="connsiteX173" fmla="*/ 1355667 w 1848503"/>
              <a:gd name="connsiteY173" fmla="*/ 567552 h 567840"/>
              <a:gd name="connsiteX174" fmla="*/ 1401002 w 1848503"/>
              <a:gd name="connsiteY174" fmla="*/ 551465 h 567840"/>
              <a:gd name="connsiteX175" fmla="*/ 1422938 w 1848503"/>
              <a:gd name="connsiteY175" fmla="*/ 532454 h 567840"/>
              <a:gd name="connsiteX176" fmla="*/ 1452187 w 1848503"/>
              <a:gd name="connsiteY176" fmla="*/ 501743 h 567840"/>
              <a:gd name="connsiteX177" fmla="*/ 1450724 w 1848503"/>
              <a:gd name="connsiteY177" fmla="*/ 522217 h 567840"/>
              <a:gd name="connsiteX178" fmla="*/ 1452187 w 1848503"/>
              <a:gd name="connsiteY178" fmla="*/ 536841 h 567840"/>
              <a:gd name="connsiteX179" fmla="*/ 1455112 w 1848503"/>
              <a:gd name="connsiteY179" fmla="*/ 545616 h 567840"/>
              <a:gd name="connsiteX180" fmla="*/ 1458037 w 1848503"/>
              <a:gd name="connsiteY180" fmla="*/ 552928 h 567840"/>
              <a:gd name="connsiteX181" fmla="*/ 1465349 w 1848503"/>
              <a:gd name="connsiteY181" fmla="*/ 561702 h 567840"/>
              <a:gd name="connsiteX182" fmla="*/ 1481435 w 1848503"/>
              <a:gd name="connsiteY182" fmla="*/ 566090 h 567840"/>
              <a:gd name="connsiteX183" fmla="*/ 1491672 w 1848503"/>
              <a:gd name="connsiteY183" fmla="*/ 564627 h 567840"/>
              <a:gd name="connsiteX184" fmla="*/ 1515071 w 1848503"/>
              <a:gd name="connsiteY184" fmla="*/ 555853 h 567840"/>
              <a:gd name="connsiteX185" fmla="*/ 1531158 w 1848503"/>
              <a:gd name="connsiteY185" fmla="*/ 542691 h 567840"/>
              <a:gd name="connsiteX186" fmla="*/ 1556019 w 1848503"/>
              <a:gd name="connsiteY186" fmla="*/ 519292 h 567840"/>
              <a:gd name="connsiteX187" fmla="*/ 1554557 w 1848503"/>
              <a:gd name="connsiteY187" fmla="*/ 536841 h 567840"/>
              <a:gd name="connsiteX188" fmla="*/ 1556019 w 1848503"/>
              <a:gd name="connsiteY188" fmla="*/ 547078 h 567840"/>
              <a:gd name="connsiteX189" fmla="*/ 1557481 w 1848503"/>
              <a:gd name="connsiteY189" fmla="*/ 554390 h 567840"/>
              <a:gd name="connsiteX190" fmla="*/ 1569181 w 1848503"/>
              <a:gd name="connsiteY190" fmla="*/ 566090 h 567840"/>
              <a:gd name="connsiteX191" fmla="*/ 1611591 w 1848503"/>
              <a:gd name="connsiteY191" fmla="*/ 558778 h 567840"/>
              <a:gd name="connsiteX192" fmla="*/ 1632065 w 1848503"/>
              <a:gd name="connsiteY192" fmla="*/ 545616 h 567840"/>
              <a:gd name="connsiteX193" fmla="*/ 1658389 w 1848503"/>
              <a:gd name="connsiteY193" fmla="*/ 522217 h 567840"/>
              <a:gd name="connsiteX194" fmla="*/ 1690562 w 1848503"/>
              <a:gd name="connsiteY194" fmla="*/ 482731 h 567840"/>
              <a:gd name="connsiteX195" fmla="*/ 1725660 w 1848503"/>
              <a:gd name="connsiteY195" fmla="*/ 427159 h 567840"/>
              <a:gd name="connsiteX196" fmla="*/ 1712498 w 1848503"/>
              <a:gd name="connsiteY196" fmla="*/ 427159 h 567840"/>
              <a:gd name="connsiteX197" fmla="*/ 1286933 w 1848503"/>
              <a:gd name="connsiteY197" fmla="*/ 441784 h 567840"/>
              <a:gd name="connsiteX198" fmla="*/ 1264997 w 1848503"/>
              <a:gd name="connsiteY198" fmla="*/ 469570 h 567840"/>
              <a:gd name="connsiteX199" fmla="*/ 1245985 w 1848503"/>
              <a:gd name="connsiteY199" fmla="*/ 490044 h 567840"/>
              <a:gd name="connsiteX200" fmla="*/ 1231361 w 1848503"/>
              <a:gd name="connsiteY200" fmla="*/ 501743 h 567840"/>
              <a:gd name="connsiteX201" fmla="*/ 1222586 w 1848503"/>
              <a:gd name="connsiteY201" fmla="*/ 507593 h 567840"/>
              <a:gd name="connsiteX202" fmla="*/ 1216737 w 1848503"/>
              <a:gd name="connsiteY202" fmla="*/ 509055 h 567840"/>
              <a:gd name="connsiteX203" fmla="*/ 1202112 w 1848503"/>
              <a:gd name="connsiteY203" fmla="*/ 500281 h 567840"/>
              <a:gd name="connsiteX204" fmla="*/ 1199188 w 1848503"/>
              <a:gd name="connsiteY204" fmla="*/ 492968 h 567840"/>
              <a:gd name="connsiteX205" fmla="*/ 1197725 w 1848503"/>
              <a:gd name="connsiteY205" fmla="*/ 473957 h 567840"/>
              <a:gd name="connsiteX206" fmla="*/ 1200650 w 1848503"/>
              <a:gd name="connsiteY206" fmla="*/ 457870 h 567840"/>
              <a:gd name="connsiteX207" fmla="*/ 1206500 w 1848503"/>
              <a:gd name="connsiteY207" fmla="*/ 438859 h 567840"/>
              <a:gd name="connsiteX208" fmla="*/ 1257685 w 1848503"/>
              <a:gd name="connsiteY208" fmla="*/ 371587 h 567840"/>
              <a:gd name="connsiteX209" fmla="*/ 1267921 w 1848503"/>
              <a:gd name="connsiteY209" fmla="*/ 387674 h 567840"/>
              <a:gd name="connsiteX210" fmla="*/ 1275234 w 1848503"/>
              <a:gd name="connsiteY210" fmla="*/ 394986 h 567840"/>
              <a:gd name="connsiteX211" fmla="*/ 1288395 w 1848503"/>
              <a:gd name="connsiteY211" fmla="*/ 402298 h 567840"/>
              <a:gd name="connsiteX212" fmla="*/ 1308869 w 1848503"/>
              <a:gd name="connsiteY212" fmla="*/ 409610 h 567840"/>
              <a:gd name="connsiteX213" fmla="*/ 1286933 w 1848503"/>
              <a:gd name="connsiteY213" fmla="*/ 441784 h 567840"/>
              <a:gd name="connsiteX214" fmla="*/ 1332268 w 1848503"/>
              <a:gd name="connsiteY214" fmla="*/ 342339 h 567840"/>
              <a:gd name="connsiteX215" fmla="*/ 1330806 w 1848503"/>
              <a:gd name="connsiteY215" fmla="*/ 352576 h 567840"/>
              <a:gd name="connsiteX216" fmla="*/ 1326418 w 1848503"/>
              <a:gd name="connsiteY216" fmla="*/ 365738 h 567840"/>
              <a:gd name="connsiteX217" fmla="*/ 1313257 w 1848503"/>
              <a:gd name="connsiteY217" fmla="*/ 393524 h 567840"/>
              <a:gd name="connsiteX218" fmla="*/ 1297170 w 1848503"/>
              <a:gd name="connsiteY218" fmla="*/ 387674 h 567840"/>
              <a:gd name="connsiteX219" fmla="*/ 1288395 w 1848503"/>
              <a:gd name="connsiteY219" fmla="*/ 381824 h 567840"/>
              <a:gd name="connsiteX220" fmla="*/ 1284008 w 1848503"/>
              <a:gd name="connsiteY220" fmla="*/ 377437 h 567840"/>
              <a:gd name="connsiteX221" fmla="*/ 1278159 w 1848503"/>
              <a:gd name="connsiteY221" fmla="*/ 367200 h 567840"/>
              <a:gd name="connsiteX222" fmla="*/ 1297170 w 1848503"/>
              <a:gd name="connsiteY222" fmla="*/ 317478 h 567840"/>
              <a:gd name="connsiteX223" fmla="*/ 1314719 w 1848503"/>
              <a:gd name="connsiteY223" fmla="*/ 311628 h 567840"/>
              <a:gd name="connsiteX224" fmla="*/ 1329343 w 1848503"/>
              <a:gd name="connsiteY224" fmla="*/ 316015 h 567840"/>
              <a:gd name="connsiteX225" fmla="*/ 1333731 w 1848503"/>
              <a:gd name="connsiteY225" fmla="*/ 332102 h 567840"/>
              <a:gd name="connsiteX226" fmla="*/ 1332268 w 1848503"/>
              <a:gd name="connsiteY226" fmla="*/ 342339 h 567840"/>
              <a:gd name="connsiteX227" fmla="*/ 1586730 w 1848503"/>
              <a:gd name="connsiteY227" fmla="*/ 454945 h 567840"/>
              <a:gd name="connsiteX228" fmla="*/ 1566256 w 1848503"/>
              <a:gd name="connsiteY228" fmla="*/ 482731 h 567840"/>
              <a:gd name="connsiteX229" fmla="*/ 1551632 w 1848503"/>
              <a:gd name="connsiteY229" fmla="*/ 497356 h 567840"/>
              <a:gd name="connsiteX230" fmla="*/ 1541395 w 1848503"/>
              <a:gd name="connsiteY230" fmla="*/ 504668 h 567840"/>
              <a:gd name="connsiteX231" fmla="*/ 1523846 w 1848503"/>
              <a:gd name="connsiteY231" fmla="*/ 504668 h 567840"/>
              <a:gd name="connsiteX232" fmla="*/ 1520921 w 1848503"/>
              <a:gd name="connsiteY232" fmla="*/ 490044 h 567840"/>
              <a:gd name="connsiteX233" fmla="*/ 1522383 w 1848503"/>
              <a:gd name="connsiteY233" fmla="*/ 478344 h 567840"/>
              <a:gd name="connsiteX234" fmla="*/ 1526771 w 1848503"/>
              <a:gd name="connsiteY234" fmla="*/ 463720 h 567840"/>
              <a:gd name="connsiteX235" fmla="*/ 1535545 w 1848503"/>
              <a:gd name="connsiteY235" fmla="*/ 444709 h 567840"/>
              <a:gd name="connsiteX236" fmla="*/ 1550169 w 1848503"/>
              <a:gd name="connsiteY236" fmla="*/ 419847 h 567840"/>
              <a:gd name="connsiteX237" fmla="*/ 1572106 w 1848503"/>
              <a:gd name="connsiteY237" fmla="*/ 389136 h 567840"/>
              <a:gd name="connsiteX238" fmla="*/ 1598429 w 1848503"/>
              <a:gd name="connsiteY238" fmla="*/ 358426 h 567840"/>
              <a:gd name="connsiteX239" fmla="*/ 1623291 w 1848503"/>
              <a:gd name="connsiteY239" fmla="*/ 333564 h 567840"/>
              <a:gd name="connsiteX240" fmla="*/ 1640840 w 1848503"/>
              <a:gd name="connsiteY240" fmla="*/ 320403 h 567840"/>
              <a:gd name="connsiteX241" fmla="*/ 1651077 w 1848503"/>
              <a:gd name="connsiteY241" fmla="*/ 314553 h 567840"/>
              <a:gd name="connsiteX242" fmla="*/ 1656926 w 1848503"/>
              <a:gd name="connsiteY242" fmla="*/ 313090 h 567840"/>
              <a:gd name="connsiteX243" fmla="*/ 1665701 w 1848503"/>
              <a:gd name="connsiteY243" fmla="*/ 314553 h 567840"/>
              <a:gd name="connsiteX244" fmla="*/ 1665701 w 1848503"/>
              <a:gd name="connsiteY244" fmla="*/ 326252 h 567840"/>
              <a:gd name="connsiteX245" fmla="*/ 1661314 w 1848503"/>
              <a:gd name="connsiteY245" fmla="*/ 336489 h 567840"/>
              <a:gd name="connsiteX246" fmla="*/ 1654001 w 1848503"/>
              <a:gd name="connsiteY246" fmla="*/ 349651 h 567840"/>
              <a:gd name="connsiteX247" fmla="*/ 1586730 w 1848503"/>
              <a:gd name="connsiteY247" fmla="*/ 454945 h 567840"/>
              <a:gd name="connsiteX248" fmla="*/ 1159702 w 1848503"/>
              <a:gd name="connsiteY248" fmla="*/ 362813 h 567840"/>
              <a:gd name="connsiteX249" fmla="*/ 1165552 w 1848503"/>
              <a:gd name="connsiteY249" fmla="*/ 329177 h 567840"/>
              <a:gd name="connsiteX250" fmla="*/ 1164089 w 1848503"/>
              <a:gd name="connsiteY250" fmla="*/ 305778 h 567840"/>
              <a:gd name="connsiteX251" fmla="*/ 1161165 w 1848503"/>
              <a:gd name="connsiteY251" fmla="*/ 298466 h 567840"/>
              <a:gd name="connsiteX252" fmla="*/ 1149465 w 1848503"/>
              <a:gd name="connsiteY252" fmla="*/ 288229 h 567840"/>
              <a:gd name="connsiteX253" fmla="*/ 1140691 w 1848503"/>
              <a:gd name="connsiteY253" fmla="*/ 285304 h 567840"/>
              <a:gd name="connsiteX254" fmla="*/ 1127529 w 1848503"/>
              <a:gd name="connsiteY254" fmla="*/ 283842 h 567840"/>
              <a:gd name="connsiteX255" fmla="*/ 1111442 w 1848503"/>
              <a:gd name="connsiteY255" fmla="*/ 285304 h 567840"/>
              <a:gd name="connsiteX256" fmla="*/ 1042708 w 1848503"/>
              <a:gd name="connsiteY256" fmla="*/ 327715 h 567840"/>
              <a:gd name="connsiteX257" fmla="*/ 1025159 w 1848503"/>
              <a:gd name="connsiteY257" fmla="*/ 351113 h 567840"/>
              <a:gd name="connsiteX258" fmla="*/ 1007610 w 1848503"/>
              <a:gd name="connsiteY258" fmla="*/ 381824 h 567840"/>
              <a:gd name="connsiteX259" fmla="*/ 992986 w 1848503"/>
              <a:gd name="connsiteY259" fmla="*/ 418385 h 567840"/>
              <a:gd name="connsiteX260" fmla="*/ 982749 w 1848503"/>
              <a:gd name="connsiteY260" fmla="*/ 457870 h 567840"/>
              <a:gd name="connsiteX261" fmla="*/ 1016385 w 1848503"/>
              <a:gd name="connsiteY261" fmla="*/ 431547 h 567840"/>
              <a:gd name="connsiteX262" fmla="*/ 1038321 w 1848503"/>
              <a:gd name="connsiteY262" fmla="*/ 416922 h 567840"/>
              <a:gd name="connsiteX263" fmla="*/ 1064645 w 1848503"/>
              <a:gd name="connsiteY263" fmla="*/ 403761 h 567840"/>
              <a:gd name="connsiteX264" fmla="*/ 1079269 w 1848503"/>
              <a:gd name="connsiteY264" fmla="*/ 361350 h 567840"/>
              <a:gd name="connsiteX265" fmla="*/ 1088043 w 1848503"/>
              <a:gd name="connsiteY265" fmla="*/ 345264 h 567840"/>
              <a:gd name="connsiteX266" fmla="*/ 1096818 w 1848503"/>
              <a:gd name="connsiteY266" fmla="*/ 333564 h 567840"/>
              <a:gd name="connsiteX267" fmla="*/ 1118754 w 1848503"/>
              <a:gd name="connsiteY267" fmla="*/ 316015 h 567840"/>
              <a:gd name="connsiteX268" fmla="*/ 1146540 w 1848503"/>
              <a:gd name="connsiteY268" fmla="*/ 318940 h 567840"/>
              <a:gd name="connsiteX269" fmla="*/ 1150928 w 1848503"/>
              <a:gd name="connsiteY269" fmla="*/ 332102 h 567840"/>
              <a:gd name="connsiteX270" fmla="*/ 1140691 w 1848503"/>
              <a:gd name="connsiteY270" fmla="*/ 384749 h 567840"/>
              <a:gd name="connsiteX271" fmla="*/ 1128991 w 1848503"/>
              <a:gd name="connsiteY271" fmla="*/ 411073 h 567840"/>
              <a:gd name="connsiteX272" fmla="*/ 1111442 w 1848503"/>
              <a:gd name="connsiteY272" fmla="*/ 438859 h 567840"/>
              <a:gd name="connsiteX273" fmla="*/ 1057332 w 1848503"/>
              <a:gd name="connsiteY273" fmla="*/ 494431 h 567840"/>
              <a:gd name="connsiteX274" fmla="*/ 1001760 w 1848503"/>
              <a:gd name="connsiteY274" fmla="*/ 526604 h 567840"/>
              <a:gd name="connsiteX275" fmla="*/ 984211 w 1848503"/>
              <a:gd name="connsiteY275" fmla="*/ 529529 h 567840"/>
              <a:gd name="connsiteX276" fmla="*/ 969587 w 1848503"/>
              <a:gd name="connsiteY276" fmla="*/ 528067 h 567840"/>
              <a:gd name="connsiteX277" fmla="*/ 944726 w 1848503"/>
              <a:gd name="connsiteY277" fmla="*/ 510518 h 567840"/>
              <a:gd name="connsiteX278" fmla="*/ 935951 w 1848503"/>
              <a:gd name="connsiteY278" fmla="*/ 495893 h 567840"/>
              <a:gd name="connsiteX279" fmla="*/ 931564 w 1848503"/>
              <a:gd name="connsiteY279" fmla="*/ 463720 h 567840"/>
              <a:gd name="connsiteX280" fmla="*/ 943263 w 1848503"/>
              <a:gd name="connsiteY280" fmla="*/ 419847 h 567840"/>
              <a:gd name="connsiteX281" fmla="*/ 979824 w 1848503"/>
              <a:gd name="connsiteY281" fmla="*/ 337952 h 567840"/>
              <a:gd name="connsiteX282" fmla="*/ 1038321 w 1848503"/>
              <a:gd name="connsiteY282" fmla="*/ 238507 h 567840"/>
              <a:gd name="connsiteX283" fmla="*/ 1096818 w 1848503"/>
              <a:gd name="connsiteY283" fmla="*/ 159536 h 567840"/>
              <a:gd name="connsiteX284" fmla="*/ 1142153 w 1848503"/>
              <a:gd name="connsiteY284" fmla="*/ 106889 h 567840"/>
              <a:gd name="connsiteX285" fmla="*/ 1180176 w 1848503"/>
              <a:gd name="connsiteY285" fmla="*/ 73253 h 567840"/>
              <a:gd name="connsiteX286" fmla="*/ 1210887 w 1848503"/>
              <a:gd name="connsiteY286" fmla="*/ 52779 h 567840"/>
              <a:gd name="connsiteX287" fmla="*/ 1235748 w 1848503"/>
              <a:gd name="connsiteY287" fmla="*/ 41080 h 567840"/>
              <a:gd name="connsiteX288" fmla="*/ 1294245 w 1848503"/>
              <a:gd name="connsiteY288" fmla="*/ 33768 h 567840"/>
              <a:gd name="connsiteX289" fmla="*/ 1250372 w 1848503"/>
              <a:gd name="connsiteY289" fmla="*/ 63016 h 567840"/>
              <a:gd name="connsiteX290" fmla="*/ 1190413 w 1848503"/>
              <a:gd name="connsiteY290" fmla="*/ 125900 h 567840"/>
              <a:gd name="connsiteX291" fmla="*/ 1174326 w 1848503"/>
              <a:gd name="connsiteY291" fmla="*/ 152224 h 567840"/>
              <a:gd name="connsiteX292" fmla="*/ 1165552 w 1848503"/>
              <a:gd name="connsiteY292" fmla="*/ 175623 h 567840"/>
              <a:gd name="connsiteX293" fmla="*/ 1161165 w 1848503"/>
              <a:gd name="connsiteY293" fmla="*/ 194634 h 567840"/>
              <a:gd name="connsiteX294" fmla="*/ 1161165 w 1848503"/>
              <a:gd name="connsiteY294" fmla="*/ 207796 h 567840"/>
              <a:gd name="connsiteX295" fmla="*/ 1164089 w 1848503"/>
              <a:gd name="connsiteY295" fmla="*/ 216570 h 567840"/>
              <a:gd name="connsiteX296" fmla="*/ 1168477 w 1848503"/>
              <a:gd name="connsiteY296" fmla="*/ 223883 h 567840"/>
              <a:gd name="connsiteX297" fmla="*/ 1174326 w 1848503"/>
              <a:gd name="connsiteY297" fmla="*/ 229732 h 567840"/>
              <a:gd name="connsiteX298" fmla="*/ 1183101 w 1848503"/>
              <a:gd name="connsiteY298" fmla="*/ 232657 h 567840"/>
              <a:gd name="connsiteX299" fmla="*/ 1194800 w 1848503"/>
              <a:gd name="connsiteY299" fmla="*/ 234120 h 567840"/>
              <a:gd name="connsiteX300" fmla="*/ 1221124 w 1848503"/>
              <a:gd name="connsiteY300" fmla="*/ 226807 h 567840"/>
              <a:gd name="connsiteX301" fmla="*/ 1238673 w 1848503"/>
              <a:gd name="connsiteY301" fmla="*/ 216570 h 567840"/>
              <a:gd name="connsiteX302" fmla="*/ 1259147 w 1848503"/>
              <a:gd name="connsiteY302" fmla="*/ 199021 h 567840"/>
              <a:gd name="connsiteX303" fmla="*/ 1279621 w 1848503"/>
              <a:gd name="connsiteY303" fmla="*/ 174160 h 567840"/>
              <a:gd name="connsiteX304" fmla="*/ 1298632 w 1848503"/>
              <a:gd name="connsiteY304" fmla="*/ 144912 h 567840"/>
              <a:gd name="connsiteX305" fmla="*/ 1320569 w 1848503"/>
              <a:gd name="connsiteY305" fmla="*/ 90802 h 567840"/>
              <a:gd name="connsiteX306" fmla="*/ 1324956 w 1848503"/>
              <a:gd name="connsiteY306" fmla="*/ 68866 h 567840"/>
              <a:gd name="connsiteX307" fmla="*/ 1324956 w 1848503"/>
              <a:gd name="connsiteY307" fmla="*/ 61554 h 567840"/>
              <a:gd name="connsiteX308" fmla="*/ 1324956 w 1848503"/>
              <a:gd name="connsiteY308" fmla="*/ 48392 h 567840"/>
              <a:gd name="connsiteX309" fmla="*/ 1324956 w 1848503"/>
              <a:gd name="connsiteY309" fmla="*/ 39617 h 567840"/>
              <a:gd name="connsiteX310" fmla="*/ 1377603 w 1848503"/>
              <a:gd name="connsiteY310" fmla="*/ 45467 h 567840"/>
              <a:gd name="connsiteX311" fmla="*/ 1431713 w 1848503"/>
              <a:gd name="connsiteY311" fmla="*/ 70328 h 567840"/>
              <a:gd name="connsiteX312" fmla="*/ 1510684 w 1848503"/>
              <a:gd name="connsiteY312" fmla="*/ 128825 h 567840"/>
              <a:gd name="connsiteX313" fmla="*/ 1563331 w 1848503"/>
              <a:gd name="connsiteY313" fmla="*/ 74715 h 567840"/>
              <a:gd name="connsiteX314" fmla="*/ 1512146 w 1848503"/>
              <a:gd name="connsiteY314" fmla="*/ 35230 h 567840"/>
              <a:gd name="connsiteX315" fmla="*/ 1471198 w 1848503"/>
              <a:gd name="connsiteY315" fmla="*/ 13294 h 567840"/>
              <a:gd name="connsiteX316" fmla="*/ 1439025 w 1848503"/>
              <a:gd name="connsiteY316" fmla="*/ 3057 h 567840"/>
              <a:gd name="connsiteX317" fmla="*/ 1395152 w 1848503"/>
              <a:gd name="connsiteY317" fmla="*/ 1594 h 567840"/>
              <a:gd name="connsiteX318" fmla="*/ 1371754 w 1848503"/>
              <a:gd name="connsiteY318" fmla="*/ 5982 h 567840"/>
              <a:gd name="connsiteX319" fmla="*/ 1324956 w 1848503"/>
              <a:gd name="connsiteY319" fmla="*/ 20606 h 567840"/>
              <a:gd name="connsiteX320" fmla="*/ 1298632 w 1848503"/>
              <a:gd name="connsiteY320" fmla="*/ 5982 h 567840"/>
              <a:gd name="connsiteX321" fmla="*/ 1282546 w 1848503"/>
              <a:gd name="connsiteY321" fmla="*/ 1594 h 567840"/>
              <a:gd name="connsiteX322" fmla="*/ 1228436 w 1848503"/>
              <a:gd name="connsiteY322" fmla="*/ 7444 h 567840"/>
              <a:gd name="connsiteX323" fmla="*/ 1172864 w 1848503"/>
              <a:gd name="connsiteY323" fmla="*/ 30843 h 567840"/>
              <a:gd name="connsiteX324" fmla="*/ 1099743 w 1848503"/>
              <a:gd name="connsiteY324" fmla="*/ 77640 h 567840"/>
              <a:gd name="connsiteX325" fmla="*/ 1023697 w 1848503"/>
              <a:gd name="connsiteY325" fmla="*/ 143449 h 567840"/>
              <a:gd name="connsiteX326" fmla="*/ 957888 w 1848503"/>
              <a:gd name="connsiteY326" fmla="*/ 218033 h 567840"/>
              <a:gd name="connsiteX327" fmla="*/ 911090 w 1848503"/>
              <a:gd name="connsiteY327" fmla="*/ 288229 h 567840"/>
              <a:gd name="connsiteX328" fmla="*/ 880379 w 1848503"/>
              <a:gd name="connsiteY328" fmla="*/ 351113 h 567840"/>
              <a:gd name="connsiteX329" fmla="*/ 862830 w 1848503"/>
              <a:gd name="connsiteY329" fmla="*/ 405223 h 567840"/>
              <a:gd name="connsiteX330" fmla="*/ 855518 w 1848503"/>
              <a:gd name="connsiteY330" fmla="*/ 450558 h 567840"/>
              <a:gd name="connsiteX331" fmla="*/ 855518 w 1848503"/>
              <a:gd name="connsiteY331" fmla="*/ 482731 h 567840"/>
              <a:gd name="connsiteX332" fmla="*/ 862830 w 1848503"/>
              <a:gd name="connsiteY332" fmla="*/ 509055 h 567840"/>
              <a:gd name="connsiteX333" fmla="*/ 875992 w 1848503"/>
              <a:gd name="connsiteY333" fmla="*/ 532454 h 567840"/>
              <a:gd name="connsiteX334" fmla="*/ 896466 w 1848503"/>
              <a:gd name="connsiteY334" fmla="*/ 551465 h 567840"/>
              <a:gd name="connsiteX335" fmla="*/ 921327 w 1848503"/>
              <a:gd name="connsiteY335" fmla="*/ 563165 h 567840"/>
              <a:gd name="connsiteX336" fmla="*/ 979824 w 1848503"/>
              <a:gd name="connsiteY336" fmla="*/ 563165 h 567840"/>
              <a:gd name="connsiteX337" fmla="*/ 1016385 w 1848503"/>
              <a:gd name="connsiteY337" fmla="*/ 547078 h 567840"/>
              <a:gd name="connsiteX338" fmla="*/ 1098280 w 1848503"/>
              <a:gd name="connsiteY338" fmla="*/ 479807 h 567840"/>
              <a:gd name="connsiteX339" fmla="*/ 1150928 w 1848503"/>
              <a:gd name="connsiteY339" fmla="*/ 397911 h 567840"/>
              <a:gd name="connsiteX340" fmla="*/ 1159702 w 1848503"/>
              <a:gd name="connsiteY340" fmla="*/ 362813 h 567840"/>
              <a:gd name="connsiteX341" fmla="*/ 1301557 w 1848503"/>
              <a:gd name="connsiteY341" fmla="*/ 49854 h 567840"/>
              <a:gd name="connsiteX342" fmla="*/ 1295708 w 1848503"/>
              <a:gd name="connsiteY342" fmla="*/ 82028 h 567840"/>
              <a:gd name="connsiteX343" fmla="*/ 1282546 w 1848503"/>
              <a:gd name="connsiteY343" fmla="*/ 120051 h 567840"/>
              <a:gd name="connsiteX344" fmla="*/ 1266459 w 1848503"/>
              <a:gd name="connsiteY344" fmla="*/ 155149 h 567840"/>
              <a:gd name="connsiteX345" fmla="*/ 1250372 w 1848503"/>
              <a:gd name="connsiteY345" fmla="*/ 180010 h 567840"/>
              <a:gd name="connsiteX346" fmla="*/ 1215274 w 1848503"/>
              <a:gd name="connsiteY346" fmla="*/ 210721 h 567840"/>
              <a:gd name="connsiteX347" fmla="*/ 1183101 w 1848503"/>
              <a:gd name="connsiteY347" fmla="*/ 210721 h 567840"/>
              <a:gd name="connsiteX348" fmla="*/ 1177251 w 1848503"/>
              <a:gd name="connsiteY348" fmla="*/ 201946 h 567840"/>
              <a:gd name="connsiteX349" fmla="*/ 1183101 w 1848503"/>
              <a:gd name="connsiteY349" fmla="*/ 168311 h 567840"/>
              <a:gd name="connsiteX350" fmla="*/ 1191875 w 1848503"/>
              <a:gd name="connsiteY350" fmla="*/ 150761 h 567840"/>
              <a:gd name="connsiteX351" fmla="*/ 1206500 w 1848503"/>
              <a:gd name="connsiteY351" fmla="*/ 130288 h 567840"/>
              <a:gd name="connsiteX352" fmla="*/ 1229898 w 1848503"/>
              <a:gd name="connsiteY352" fmla="*/ 105426 h 567840"/>
              <a:gd name="connsiteX353" fmla="*/ 1263534 w 1848503"/>
              <a:gd name="connsiteY353" fmla="*/ 76178 h 567840"/>
              <a:gd name="connsiteX354" fmla="*/ 1301557 w 1848503"/>
              <a:gd name="connsiteY354" fmla="*/ 49854 h 567840"/>
              <a:gd name="connsiteX355" fmla="*/ 786784 w 1848503"/>
              <a:gd name="connsiteY355" fmla="*/ 335027 h 567840"/>
              <a:gd name="connsiteX356" fmla="*/ 769235 w 1848503"/>
              <a:gd name="connsiteY356" fmla="*/ 354038 h 567840"/>
              <a:gd name="connsiteX357" fmla="*/ 761923 w 1848503"/>
              <a:gd name="connsiteY357" fmla="*/ 359888 h 567840"/>
              <a:gd name="connsiteX358" fmla="*/ 750223 w 1848503"/>
              <a:gd name="connsiteY358" fmla="*/ 362813 h 567840"/>
              <a:gd name="connsiteX359" fmla="*/ 744374 w 1848503"/>
              <a:gd name="connsiteY359" fmla="*/ 356963 h 567840"/>
              <a:gd name="connsiteX360" fmla="*/ 745836 w 1848503"/>
              <a:gd name="connsiteY360" fmla="*/ 349651 h 567840"/>
              <a:gd name="connsiteX361" fmla="*/ 754611 w 1848503"/>
              <a:gd name="connsiteY361" fmla="*/ 332102 h 567840"/>
              <a:gd name="connsiteX362" fmla="*/ 778009 w 1848503"/>
              <a:gd name="connsiteY362" fmla="*/ 286767 h 567840"/>
              <a:gd name="connsiteX363" fmla="*/ 859905 w 1848503"/>
              <a:gd name="connsiteY363" fmla="*/ 147837 h 567840"/>
              <a:gd name="connsiteX364" fmla="*/ 808720 w 1848503"/>
              <a:gd name="connsiteY364" fmla="*/ 147837 h 567840"/>
              <a:gd name="connsiteX365" fmla="*/ 798483 w 1848503"/>
              <a:gd name="connsiteY365" fmla="*/ 159536 h 567840"/>
              <a:gd name="connsiteX366" fmla="*/ 779472 w 1848503"/>
              <a:gd name="connsiteY366" fmla="*/ 149299 h 567840"/>
              <a:gd name="connsiteX367" fmla="*/ 767773 w 1848503"/>
              <a:gd name="connsiteY367" fmla="*/ 146374 h 567840"/>
              <a:gd name="connsiteX368" fmla="*/ 757536 w 1848503"/>
              <a:gd name="connsiteY368" fmla="*/ 144912 h 567840"/>
              <a:gd name="connsiteX369" fmla="*/ 718050 w 1848503"/>
              <a:gd name="connsiteY369" fmla="*/ 156611 h 567840"/>
              <a:gd name="connsiteX370" fmla="*/ 697576 w 1848503"/>
              <a:gd name="connsiteY370" fmla="*/ 171235 h 567840"/>
              <a:gd name="connsiteX371" fmla="*/ 661016 w 1848503"/>
              <a:gd name="connsiteY371" fmla="*/ 206334 h 567840"/>
              <a:gd name="connsiteX372" fmla="*/ 593744 w 1848503"/>
              <a:gd name="connsiteY372" fmla="*/ 285304 h 567840"/>
              <a:gd name="connsiteX373" fmla="*/ 541097 w 1848503"/>
              <a:gd name="connsiteY373" fmla="*/ 345264 h 567840"/>
              <a:gd name="connsiteX374" fmla="*/ 514773 w 1848503"/>
              <a:gd name="connsiteY374" fmla="*/ 368662 h 567840"/>
              <a:gd name="connsiteX375" fmla="*/ 500149 w 1848503"/>
              <a:gd name="connsiteY375" fmla="*/ 377437 h 567840"/>
              <a:gd name="connsiteX376" fmla="*/ 491374 w 1848503"/>
              <a:gd name="connsiteY376" fmla="*/ 383287 h 567840"/>
              <a:gd name="connsiteX377" fmla="*/ 466513 w 1848503"/>
              <a:gd name="connsiteY377" fmla="*/ 380362 h 567840"/>
              <a:gd name="connsiteX378" fmla="*/ 460664 w 1848503"/>
              <a:gd name="connsiteY378" fmla="*/ 370125 h 567840"/>
              <a:gd name="connsiteX379" fmla="*/ 462126 w 1848503"/>
              <a:gd name="connsiteY379" fmla="*/ 342339 h 567840"/>
              <a:gd name="connsiteX380" fmla="*/ 467976 w 1848503"/>
              <a:gd name="connsiteY380" fmla="*/ 323327 h 567840"/>
              <a:gd name="connsiteX381" fmla="*/ 479675 w 1848503"/>
              <a:gd name="connsiteY381" fmla="*/ 298466 h 567840"/>
              <a:gd name="connsiteX382" fmla="*/ 498687 w 1848503"/>
              <a:gd name="connsiteY382" fmla="*/ 266293 h 567840"/>
              <a:gd name="connsiteX383" fmla="*/ 554259 w 1848503"/>
              <a:gd name="connsiteY383" fmla="*/ 200484 h 567840"/>
              <a:gd name="connsiteX384" fmla="*/ 576195 w 1848503"/>
              <a:gd name="connsiteY384" fmla="*/ 182935 h 567840"/>
              <a:gd name="connsiteX385" fmla="*/ 587894 w 1848503"/>
              <a:gd name="connsiteY385" fmla="*/ 175623 h 567840"/>
              <a:gd name="connsiteX386" fmla="*/ 595206 w 1848503"/>
              <a:gd name="connsiteY386" fmla="*/ 174160 h 567840"/>
              <a:gd name="connsiteX387" fmla="*/ 602519 w 1848503"/>
              <a:gd name="connsiteY387" fmla="*/ 177085 h 567840"/>
              <a:gd name="connsiteX388" fmla="*/ 606906 w 1848503"/>
              <a:gd name="connsiteY388" fmla="*/ 185860 h 567840"/>
              <a:gd name="connsiteX389" fmla="*/ 606906 w 1848503"/>
              <a:gd name="connsiteY389" fmla="*/ 193172 h 567840"/>
              <a:gd name="connsiteX390" fmla="*/ 593744 w 1848503"/>
              <a:gd name="connsiteY390" fmla="*/ 196097 h 567840"/>
              <a:gd name="connsiteX391" fmla="*/ 584970 w 1848503"/>
              <a:gd name="connsiteY391" fmla="*/ 200484 h 567840"/>
              <a:gd name="connsiteX392" fmla="*/ 579120 w 1848503"/>
              <a:gd name="connsiteY392" fmla="*/ 204871 h 567840"/>
              <a:gd name="connsiteX393" fmla="*/ 565958 w 1848503"/>
              <a:gd name="connsiteY393" fmla="*/ 232657 h 567840"/>
              <a:gd name="connsiteX394" fmla="*/ 571808 w 1848503"/>
              <a:gd name="connsiteY394" fmla="*/ 242894 h 567840"/>
              <a:gd name="connsiteX395" fmla="*/ 605443 w 1848503"/>
              <a:gd name="connsiteY395" fmla="*/ 231195 h 567840"/>
              <a:gd name="connsiteX396" fmla="*/ 611293 w 1848503"/>
              <a:gd name="connsiteY396" fmla="*/ 222420 h 567840"/>
              <a:gd name="connsiteX397" fmla="*/ 624455 w 1848503"/>
              <a:gd name="connsiteY397" fmla="*/ 193172 h 567840"/>
              <a:gd name="connsiteX398" fmla="*/ 611293 w 1848503"/>
              <a:gd name="connsiteY398" fmla="*/ 150761 h 567840"/>
              <a:gd name="connsiteX399" fmla="*/ 592282 w 1848503"/>
              <a:gd name="connsiteY399" fmla="*/ 144912 h 567840"/>
              <a:gd name="connsiteX400" fmla="*/ 577657 w 1848503"/>
              <a:gd name="connsiteY400" fmla="*/ 146374 h 567840"/>
              <a:gd name="connsiteX401" fmla="*/ 560108 w 1848503"/>
              <a:gd name="connsiteY401" fmla="*/ 152224 h 567840"/>
              <a:gd name="connsiteX402" fmla="*/ 533785 w 1848503"/>
              <a:gd name="connsiteY402" fmla="*/ 168311 h 567840"/>
              <a:gd name="connsiteX403" fmla="*/ 486987 w 1848503"/>
              <a:gd name="connsiteY403" fmla="*/ 209258 h 567840"/>
              <a:gd name="connsiteX404" fmla="*/ 451889 w 1848503"/>
              <a:gd name="connsiteY404" fmla="*/ 235582 h 567840"/>
              <a:gd name="connsiteX405" fmla="*/ 427028 w 1848503"/>
              <a:gd name="connsiteY405" fmla="*/ 248744 h 567840"/>
              <a:gd name="connsiteX406" fmla="*/ 405091 w 1848503"/>
              <a:gd name="connsiteY406" fmla="*/ 256056 h 567840"/>
              <a:gd name="connsiteX407" fmla="*/ 416791 w 1848503"/>
              <a:gd name="connsiteY407" fmla="*/ 226807 h 567840"/>
              <a:gd name="connsiteX408" fmla="*/ 424103 w 1848503"/>
              <a:gd name="connsiteY408" fmla="*/ 204871 h 567840"/>
              <a:gd name="connsiteX409" fmla="*/ 427028 w 1848503"/>
              <a:gd name="connsiteY409" fmla="*/ 191709 h 567840"/>
              <a:gd name="connsiteX410" fmla="*/ 424103 w 1848503"/>
              <a:gd name="connsiteY410" fmla="*/ 169773 h 567840"/>
              <a:gd name="connsiteX411" fmla="*/ 419716 w 1848503"/>
              <a:gd name="connsiteY411" fmla="*/ 162461 h 567840"/>
              <a:gd name="connsiteX412" fmla="*/ 406554 w 1848503"/>
              <a:gd name="connsiteY412" fmla="*/ 152224 h 567840"/>
              <a:gd name="connsiteX413" fmla="*/ 371456 w 1848503"/>
              <a:gd name="connsiteY413" fmla="*/ 150761 h 567840"/>
              <a:gd name="connsiteX414" fmla="*/ 349519 w 1848503"/>
              <a:gd name="connsiteY414" fmla="*/ 159536 h 567840"/>
              <a:gd name="connsiteX415" fmla="*/ 320271 w 1848503"/>
              <a:gd name="connsiteY415" fmla="*/ 177085 h 567840"/>
              <a:gd name="connsiteX416" fmla="*/ 286635 w 1848503"/>
              <a:gd name="connsiteY416" fmla="*/ 204871 h 567840"/>
              <a:gd name="connsiteX417" fmla="*/ 252999 w 1848503"/>
              <a:gd name="connsiteY417" fmla="*/ 241432 h 567840"/>
              <a:gd name="connsiteX418" fmla="*/ 207664 w 1848503"/>
              <a:gd name="connsiteY418" fmla="*/ 316015 h 567840"/>
              <a:gd name="connsiteX419" fmla="*/ 197427 w 1848503"/>
              <a:gd name="connsiteY419" fmla="*/ 346726 h 567840"/>
              <a:gd name="connsiteX420" fmla="*/ 190115 w 1848503"/>
              <a:gd name="connsiteY420" fmla="*/ 368662 h 567840"/>
              <a:gd name="connsiteX421" fmla="*/ 190115 w 1848503"/>
              <a:gd name="connsiteY421" fmla="*/ 384749 h 567840"/>
              <a:gd name="connsiteX422" fmla="*/ 193040 w 1848503"/>
              <a:gd name="connsiteY422" fmla="*/ 396449 h 567840"/>
              <a:gd name="connsiteX423" fmla="*/ 197427 w 1848503"/>
              <a:gd name="connsiteY423" fmla="*/ 406686 h 567840"/>
              <a:gd name="connsiteX424" fmla="*/ 204739 w 1848503"/>
              <a:gd name="connsiteY424" fmla="*/ 413998 h 567840"/>
              <a:gd name="connsiteX425" fmla="*/ 214976 w 1848503"/>
              <a:gd name="connsiteY425" fmla="*/ 418385 h 567840"/>
              <a:gd name="connsiteX426" fmla="*/ 228138 w 1848503"/>
              <a:gd name="connsiteY426" fmla="*/ 419847 h 567840"/>
              <a:gd name="connsiteX427" fmla="*/ 244225 w 1848503"/>
              <a:gd name="connsiteY427" fmla="*/ 418385 h 567840"/>
              <a:gd name="connsiteX428" fmla="*/ 261774 w 1848503"/>
              <a:gd name="connsiteY428" fmla="*/ 412535 h 567840"/>
              <a:gd name="connsiteX429" fmla="*/ 282248 w 1848503"/>
              <a:gd name="connsiteY429" fmla="*/ 400836 h 567840"/>
              <a:gd name="connsiteX430" fmla="*/ 308571 w 1848503"/>
              <a:gd name="connsiteY430" fmla="*/ 378899 h 567840"/>
              <a:gd name="connsiteX431" fmla="*/ 343670 w 1848503"/>
              <a:gd name="connsiteY431" fmla="*/ 337952 h 567840"/>
              <a:gd name="connsiteX432" fmla="*/ 390467 w 1848503"/>
              <a:gd name="connsiteY432" fmla="*/ 270680 h 567840"/>
              <a:gd name="connsiteX433" fmla="*/ 429953 w 1848503"/>
              <a:gd name="connsiteY433" fmla="*/ 261906 h 567840"/>
              <a:gd name="connsiteX434" fmla="*/ 400704 w 1848503"/>
              <a:gd name="connsiteY434" fmla="*/ 318940 h 567840"/>
              <a:gd name="connsiteX435" fmla="*/ 391930 w 1848503"/>
              <a:gd name="connsiteY435" fmla="*/ 345264 h 567840"/>
              <a:gd name="connsiteX436" fmla="*/ 394854 w 1848503"/>
              <a:gd name="connsiteY436" fmla="*/ 402298 h 567840"/>
              <a:gd name="connsiteX437" fmla="*/ 405091 w 1848503"/>
              <a:gd name="connsiteY437" fmla="*/ 415460 h 567840"/>
              <a:gd name="connsiteX438" fmla="*/ 421178 w 1848503"/>
              <a:gd name="connsiteY438" fmla="*/ 424235 h 567840"/>
              <a:gd name="connsiteX439" fmla="*/ 441652 w 1848503"/>
              <a:gd name="connsiteY439" fmla="*/ 427159 h 567840"/>
              <a:gd name="connsiteX440" fmla="*/ 497224 w 1848503"/>
              <a:gd name="connsiteY440" fmla="*/ 409610 h 567840"/>
              <a:gd name="connsiteX441" fmla="*/ 523548 w 1848503"/>
              <a:gd name="connsiteY441" fmla="*/ 389136 h 567840"/>
              <a:gd name="connsiteX442" fmla="*/ 563033 w 1848503"/>
              <a:gd name="connsiteY442" fmla="*/ 349651 h 567840"/>
              <a:gd name="connsiteX443" fmla="*/ 561571 w 1848503"/>
              <a:gd name="connsiteY443" fmla="*/ 383287 h 567840"/>
              <a:gd name="connsiteX444" fmla="*/ 563033 w 1848503"/>
              <a:gd name="connsiteY444" fmla="*/ 397911 h 567840"/>
              <a:gd name="connsiteX445" fmla="*/ 564496 w 1848503"/>
              <a:gd name="connsiteY445" fmla="*/ 405223 h 567840"/>
              <a:gd name="connsiteX446" fmla="*/ 567420 w 1848503"/>
              <a:gd name="connsiteY446" fmla="*/ 409610 h 567840"/>
              <a:gd name="connsiteX447" fmla="*/ 579120 w 1848503"/>
              <a:gd name="connsiteY447" fmla="*/ 418385 h 567840"/>
              <a:gd name="connsiteX448" fmla="*/ 620068 w 1848503"/>
              <a:gd name="connsiteY448" fmla="*/ 413998 h 567840"/>
              <a:gd name="connsiteX449" fmla="*/ 639079 w 1848503"/>
              <a:gd name="connsiteY449" fmla="*/ 402298 h 567840"/>
              <a:gd name="connsiteX450" fmla="*/ 665403 w 1848503"/>
              <a:gd name="connsiteY450" fmla="*/ 380362 h 567840"/>
              <a:gd name="connsiteX451" fmla="*/ 665403 w 1848503"/>
              <a:gd name="connsiteY451" fmla="*/ 394986 h 567840"/>
              <a:gd name="connsiteX452" fmla="*/ 666865 w 1848503"/>
              <a:gd name="connsiteY452" fmla="*/ 403761 h 567840"/>
              <a:gd name="connsiteX453" fmla="*/ 669790 w 1848503"/>
              <a:gd name="connsiteY453" fmla="*/ 412535 h 567840"/>
              <a:gd name="connsiteX454" fmla="*/ 687339 w 1848503"/>
              <a:gd name="connsiteY454" fmla="*/ 421310 h 567840"/>
              <a:gd name="connsiteX455" fmla="*/ 697576 w 1848503"/>
              <a:gd name="connsiteY455" fmla="*/ 421310 h 567840"/>
              <a:gd name="connsiteX456" fmla="*/ 741449 w 1848503"/>
              <a:gd name="connsiteY456" fmla="*/ 405223 h 567840"/>
              <a:gd name="connsiteX457" fmla="*/ 769235 w 1848503"/>
              <a:gd name="connsiteY457" fmla="*/ 381824 h 567840"/>
              <a:gd name="connsiteX458" fmla="*/ 802871 w 1848503"/>
              <a:gd name="connsiteY458" fmla="*/ 342339 h 567840"/>
              <a:gd name="connsiteX459" fmla="*/ 837969 w 1848503"/>
              <a:gd name="connsiteY459" fmla="*/ 286767 h 567840"/>
              <a:gd name="connsiteX460" fmla="*/ 827732 w 1848503"/>
              <a:gd name="connsiteY460" fmla="*/ 283842 h 567840"/>
              <a:gd name="connsiteX461" fmla="*/ 786784 w 1848503"/>
              <a:gd name="connsiteY461" fmla="*/ 335027 h 567840"/>
              <a:gd name="connsiteX462" fmla="*/ 329045 w 1848503"/>
              <a:gd name="connsiteY462" fmla="*/ 333564 h 567840"/>
              <a:gd name="connsiteX463" fmla="*/ 310034 w 1848503"/>
              <a:gd name="connsiteY463" fmla="*/ 355501 h 567840"/>
              <a:gd name="connsiteX464" fmla="*/ 301259 w 1848503"/>
              <a:gd name="connsiteY464" fmla="*/ 362813 h 567840"/>
              <a:gd name="connsiteX465" fmla="*/ 293947 w 1848503"/>
              <a:gd name="connsiteY465" fmla="*/ 367200 h 567840"/>
              <a:gd name="connsiteX466" fmla="*/ 264699 w 1848503"/>
              <a:gd name="connsiteY466" fmla="*/ 361350 h 567840"/>
              <a:gd name="connsiteX467" fmla="*/ 261774 w 1848503"/>
              <a:gd name="connsiteY467" fmla="*/ 346726 h 567840"/>
              <a:gd name="connsiteX468" fmla="*/ 264699 w 1848503"/>
              <a:gd name="connsiteY468" fmla="*/ 332102 h 567840"/>
              <a:gd name="connsiteX469" fmla="*/ 274936 w 1848503"/>
              <a:gd name="connsiteY469" fmla="*/ 308703 h 567840"/>
              <a:gd name="connsiteX470" fmla="*/ 295410 w 1848503"/>
              <a:gd name="connsiteY470" fmla="*/ 273605 h 567840"/>
              <a:gd name="connsiteX471" fmla="*/ 327583 w 1848503"/>
              <a:gd name="connsiteY471" fmla="*/ 232657 h 567840"/>
              <a:gd name="connsiteX472" fmla="*/ 342207 w 1848503"/>
              <a:gd name="connsiteY472" fmla="*/ 251669 h 567840"/>
              <a:gd name="connsiteX473" fmla="*/ 355369 w 1848503"/>
              <a:gd name="connsiteY473" fmla="*/ 261906 h 567840"/>
              <a:gd name="connsiteX474" fmla="*/ 374381 w 1848503"/>
              <a:gd name="connsiteY474" fmla="*/ 270680 h 567840"/>
              <a:gd name="connsiteX475" fmla="*/ 329045 w 1848503"/>
              <a:gd name="connsiteY475" fmla="*/ 333564 h 567840"/>
              <a:gd name="connsiteX476" fmla="*/ 400704 w 1848503"/>
              <a:gd name="connsiteY476" fmla="*/ 204871 h 567840"/>
              <a:gd name="connsiteX477" fmla="*/ 399242 w 1848503"/>
              <a:gd name="connsiteY477" fmla="*/ 215108 h 567840"/>
              <a:gd name="connsiteX478" fmla="*/ 394854 w 1848503"/>
              <a:gd name="connsiteY478" fmla="*/ 228270 h 567840"/>
              <a:gd name="connsiteX479" fmla="*/ 383155 w 1848503"/>
              <a:gd name="connsiteY479" fmla="*/ 251669 h 567840"/>
              <a:gd name="connsiteX480" fmla="*/ 367068 w 1848503"/>
              <a:gd name="connsiteY480" fmla="*/ 245819 h 567840"/>
              <a:gd name="connsiteX481" fmla="*/ 356831 w 1848503"/>
              <a:gd name="connsiteY481" fmla="*/ 239969 h 567840"/>
              <a:gd name="connsiteX482" fmla="*/ 350982 w 1848503"/>
              <a:gd name="connsiteY482" fmla="*/ 234120 h 567840"/>
              <a:gd name="connsiteX483" fmla="*/ 346594 w 1848503"/>
              <a:gd name="connsiteY483" fmla="*/ 229732 h 567840"/>
              <a:gd name="connsiteX484" fmla="*/ 353907 w 1848503"/>
              <a:gd name="connsiteY484" fmla="*/ 188784 h 567840"/>
              <a:gd name="connsiteX485" fmla="*/ 361219 w 1848503"/>
              <a:gd name="connsiteY485" fmla="*/ 182935 h 567840"/>
              <a:gd name="connsiteX486" fmla="*/ 369993 w 1848503"/>
              <a:gd name="connsiteY486" fmla="*/ 178547 h 567840"/>
              <a:gd name="connsiteX487" fmla="*/ 393392 w 1848503"/>
              <a:gd name="connsiteY487" fmla="*/ 178547 h 567840"/>
              <a:gd name="connsiteX488" fmla="*/ 400704 w 1848503"/>
              <a:gd name="connsiteY488" fmla="*/ 204871 h 567840"/>
              <a:gd name="connsiteX489" fmla="*/ 696114 w 1848503"/>
              <a:gd name="connsiteY489" fmla="*/ 321865 h 567840"/>
              <a:gd name="connsiteX490" fmla="*/ 681490 w 1848503"/>
              <a:gd name="connsiteY490" fmla="*/ 342339 h 567840"/>
              <a:gd name="connsiteX491" fmla="*/ 669790 w 1848503"/>
              <a:gd name="connsiteY491" fmla="*/ 355501 h 567840"/>
              <a:gd name="connsiteX492" fmla="*/ 661016 w 1848503"/>
              <a:gd name="connsiteY492" fmla="*/ 362813 h 567840"/>
              <a:gd name="connsiteX493" fmla="*/ 650779 w 1848503"/>
              <a:gd name="connsiteY493" fmla="*/ 368662 h 567840"/>
              <a:gd name="connsiteX494" fmla="*/ 636154 w 1848503"/>
              <a:gd name="connsiteY494" fmla="*/ 364275 h 567840"/>
              <a:gd name="connsiteX495" fmla="*/ 631767 w 1848503"/>
              <a:gd name="connsiteY495" fmla="*/ 349651 h 567840"/>
              <a:gd name="connsiteX496" fmla="*/ 633230 w 1848503"/>
              <a:gd name="connsiteY496" fmla="*/ 339414 h 567840"/>
              <a:gd name="connsiteX497" fmla="*/ 639079 w 1848503"/>
              <a:gd name="connsiteY497" fmla="*/ 323327 h 567840"/>
              <a:gd name="connsiteX498" fmla="*/ 652241 w 1848503"/>
              <a:gd name="connsiteY498" fmla="*/ 297004 h 567840"/>
              <a:gd name="connsiteX499" fmla="*/ 675640 w 1848503"/>
              <a:gd name="connsiteY499" fmla="*/ 260443 h 567840"/>
              <a:gd name="connsiteX500" fmla="*/ 706351 w 1848503"/>
              <a:gd name="connsiteY500" fmla="*/ 222420 h 567840"/>
              <a:gd name="connsiteX501" fmla="*/ 732674 w 1848503"/>
              <a:gd name="connsiteY501" fmla="*/ 194634 h 567840"/>
              <a:gd name="connsiteX502" fmla="*/ 748761 w 1848503"/>
              <a:gd name="connsiteY502" fmla="*/ 181472 h 567840"/>
              <a:gd name="connsiteX503" fmla="*/ 757536 w 1848503"/>
              <a:gd name="connsiteY503" fmla="*/ 177085 h 567840"/>
              <a:gd name="connsiteX504" fmla="*/ 769235 w 1848503"/>
              <a:gd name="connsiteY504" fmla="*/ 177085 h 567840"/>
              <a:gd name="connsiteX505" fmla="*/ 772160 w 1848503"/>
              <a:gd name="connsiteY505" fmla="*/ 193172 h 567840"/>
              <a:gd name="connsiteX506" fmla="*/ 767773 w 1848503"/>
              <a:gd name="connsiteY506" fmla="*/ 200484 h 567840"/>
              <a:gd name="connsiteX507" fmla="*/ 754611 w 1848503"/>
              <a:gd name="connsiteY507" fmla="*/ 222420 h 567840"/>
              <a:gd name="connsiteX508" fmla="*/ 696114 w 1848503"/>
              <a:gd name="connsiteY508" fmla="*/ 321865 h 567840"/>
              <a:gd name="connsiteX509" fmla="*/ 1713961 w 1848503"/>
              <a:gd name="connsiteY509" fmla="*/ 548541 h 567840"/>
              <a:gd name="connsiteX510" fmla="*/ 1709574 w 1848503"/>
              <a:gd name="connsiteY510" fmla="*/ 530991 h 567840"/>
              <a:gd name="connsiteX511" fmla="*/ 1702261 w 1848503"/>
              <a:gd name="connsiteY511" fmla="*/ 530991 h 567840"/>
              <a:gd name="connsiteX512" fmla="*/ 1702261 w 1848503"/>
              <a:gd name="connsiteY512" fmla="*/ 557315 h 567840"/>
              <a:gd name="connsiteX513" fmla="*/ 1706649 w 1848503"/>
              <a:gd name="connsiteY513" fmla="*/ 557315 h 567840"/>
              <a:gd name="connsiteX514" fmla="*/ 1706649 w 1848503"/>
              <a:gd name="connsiteY514" fmla="*/ 536841 h 567840"/>
              <a:gd name="connsiteX515" fmla="*/ 1712498 w 1848503"/>
              <a:gd name="connsiteY515" fmla="*/ 557315 h 567840"/>
              <a:gd name="connsiteX516" fmla="*/ 1718348 w 1848503"/>
              <a:gd name="connsiteY516" fmla="*/ 557315 h 567840"/>
              <a:gd name="connsiteX517" fmla="*/ 1724198 w 1848503"/>
              <a:gd name="connsiteY517" fmla="*/ 536841 h 567840"/>
              <a:gd name="connsiteX518" fmla="*/ 1724198 w 1848503"/>
              <a:gd name="connsiteY518" fmla="*/ 557315 h 567840"/>
              <a:gd name="connsiteX519" fmla="*/ 1728585 w 1848503"/>
              <a:gd name="connsiteY519" fmla="*/ 557315 h 567840"/>
              <a:gd name="connsiteX520" fmla="*/ 1728585 w 1848503"/>
              <a:gd name="connsiteY520" fmla="*/ 530991 h 567840"/>
              <a:gd name="connsiteX521" fmla="*/ 1721273 w 1848503"/>
              <a:gd name="connsiteY521" fmla="*/ 530991 h 567840"/>
              <a:gd name="connsiteX522" fmla="*/ 1713961 w 1848503"/>
              <a:gd name="connsiteY522" fmla="*/ 548541 h 567840"/>
              <a:gd name="connsiteX523" fmla="*/ 1749059 w 1848503"/>
              <a:gd name="connsiteY523" fmla="*/ 548541 h 567840"/>
              <a:gd name="connsiteX524" fmla="*/ 1746134 w 1848503"/>
              <a:gd name="connsiteY524" fmla="*/ 547078 h 567840"/>
              <a:gd name="connsiteX525" fmla="*/ 1751984 w 1848503"/>
              <a:gd name="connsiteY525" fmla="*/ 544153 h 567840"/>
              <a:gd name="connsiteX526" fmla="*/ 1753446 w 1848503"/>
              <a:gd name="connsiteY526" fmla="*/ 539766 h 567840"/>
              <a:gd name="connsiteX527" fmla="*/ 1751984 w 1848503"/>
              <a:gd name="connsiteY527" fmla="*/ 535379 h 567840"/>
              <a:gd name="connsiteX528" fmla="*/ 1749059 w 1848503"/>
              <a:gd name="connsiteY528" fmla="*/ 532454 h 567840"/>
              <a:gd name="connsiteX529" fmla="*/ 1743209 w 1848503"/>
              <a:gd name="connsiteY529" fmla="*/ 532454 h 567840"/>
              <a:gd name="connsiteX530" fmla="*/ 1731510 w 1848503"/>
              <a:gd name="connsiteY530" fmla="*/ 532454 h 567840"/>
              <a:gd name="connsiteX531" fmla="*/ 1731510 w 1848503"/>
              <a:gd name="connsiteY531" fmla="*/ 558778 h 567840"/>
              <a:gd name="connsiteX532" fmla="*/ 1737360 w 1848503"/>
              <a:gd name="connsiteY532" fmla="*/ 558778 h 567840"/>
              <a:gd name="connsiteX533" fmla="*/ 1737360 w 1848503"/>
              <a:gd name="connsiteY533" fmla="*/ 548541 h 567840"/>
              <a:gd name="connsiteX534" fmla="*/ 1738822 w 1848503"/>
              <a:gd name="connsiteY534" fmla="*/ 548541 h 567840"/>
              <a:gd name="connsiteX535" fmla="*/ 1741747 w 1848503"/>
              <a:gd name="connsiteY535" fmla="*/ 548541 h 567840"/>
              <a:gd name="connsiteX536" fmla="*/ 1743209 w 1848503"/>
              <a:gd name="connsiteY536" fmla="*/ 550003 h 567840"/>
              <a:gd name="connsiteX537" fmla="*/ 1746134 w 1848503"/>
              <a:gd name="connsiteY537" fmla="*/ 554390 h 567840"/>
              <a:gd name="connsiteX538" fmla="*/ 1750521 w 1848503"/>
              <a:gd name="connsiteY538" fmla="*/ 560240 h 567840"/>
              <a:gd name="connsiteX539" fmla="*/ 1756371 w 1848503"/>
              <a:gd name="connsiteY539" fmla="*/ 560240 h 567840"/>
              <a:gd name="connsiteX540" fmla="*/ 1753446 w 1848503"/>
              <a:gd name="connsiteY540" fmla="*/ 555853 h 567840"/>
              <a:gd name="connsiteX541" fmla="*/ 1749059 w 1848503"/>
              <a:gd name="connsiteY541" fmla="*/ 548541 h 567840"/>
              <a:gd name="connsiteX542" fmla="*/ 1740284 w 1848503"/>
              <a:gd name="connsiteY542" fmla="*/ 542691 h 567840"/>
              <a:gd name="connsiteX543" fmla="*/ 1735897 w 1848503"/>
              <a:gd name="connsiteY543" fmla="*/ 542691 h 567840"/>
              <a:gd name="connsiteX544" fmla="*/ 1735897 w 1848503"/>
              <a:gd name="connsiteY544" fmla="*/ 536841 h 567840"/>
              <a:gd name="connsiteX545" fmla="*/ 1740284 w 1848503"/>
              <a:gd name="connsiteY545" fmla="*/ 536841 h 567840"/>
              <a:gd name="connsiteX546" fmla="*/ 1744672 w 1848503"/>
              <a:gd name="connsiteY546" fmla="*/ 536841 h 567840"/>
              <a:gd name="connsiteX547" fmla="*/ 1746134 w 1848503"/>
              <a:gd name="connsiteY547" fmla="*/ 538304 h 567840"/>
              <a:gd name="connsiteX548" fmla="*/ 1746134 w 1848503"/>
              <a:gd name="connsiteY548" fmla="*/ 539766 h 567840"/>
              <a:gd name="connsiteX549" fmla="*/ 1746134 w 1848503"/>
              <a:gd name="connsiteY549" fmla="*/ 541228 h 567840"/>
              <a:gd name="connsiteX550" fmla="*/ 1744672 w 1848503"/>
              <a:gd name="connsiteY550" fmla="*/ 542691 h 567840"/>
              <a:gd name="connsiteX551" fmla="*/ 1740284 w 1848503"/>
              <a:gd name="connsiteY551" fmla="*/ 542691 h 567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</a:cxnLst>
            <a:rect l="l" t="t" r="r" b="b"/>
            <a:pathLst>
              <a:path w="1848503" h="567840">
                <a:moveTo>
                  <a:pt x="652241" y="475419"/>
                </a:moveTo>
                <a:cubicBezTo>
                  <a:pt x="627380" y="469570"/>
                  <a:pt x="596669" y="466645"/>
                  <a:pt x="565958" y="466645"/>
                </a:cubicBezTo>
                <a:cubicBezTo>
                  <a:pt x="539634" y="465182"/>
                  <a:pt x="511848" y="466645"/>
                  <a:pt x="462126" y="478344"/>
                </a:cubicBezTo>
                <a:cubicBezTo>
                  <a:pt x="412404" y="490044"/>
                  <a:pt x="340745" y="510518"/>
                  <a:pt x="293947" y="522217"/>
                </a:cubicBezTo>
                <a:cubicBezTo>
                  <a:pt x="247150" y="533916"/>
                  <a:pt x="223751" y="536841"/>
                  <a:pt x="200352" y="536841"/>
                </a:cubicBezTo>
                <a:cubicBezTo>
                  <a:pt x="188653" y="536841"/>
                  <a:pt x="176953" y="535379"/>
                  <a:pt x="168179" y="533916"/>
                </a:cubicBezTo>
                <a:cubicBezTo>
                  <a:pt x="157942" y="532454"/>
                  <a:pt x="149167" y="529529"/>
                  <a:pt x="141855" y="526604"/>
                </a:cubicBezTo>
                <a:cubicBezTo>
                  <a:pt x="134543" y="523679"/>
                  <a:pt x="127231" y="519292"/>
                  <a:pt x="122844" y="516367"/>
                </a:cubicBezTo>
                <a:cubicBezTo>
                  <a:pt x="116994" y="511980"/>
                  <a:pt x="112607" y="507593"/>
                  <a:pt x="108219" y="503205"/>
                </a:cubicBezTo>
                <a:cubicBezTo>
                  <a:pt x="103832" y="498818"/>
                  <a:pt x="100907" y="492968"/>
                  <a:pt x="97982" y="487119"/>
                </a:cubicBezTo>
                <a:cubicBezTo>
                  <a:pt x="95058" y="481269"/>
                  <a:pt x="93595" y="475419"/>
                  <a:pt x="90670" y="469570"/>
                </a:cubicBezTo>
                <a:cubicBezTo>
                  <a:pt x="89208" y="462258"/>
                  <a:pt x="87745" y="456408"/>
                  <a:pt x="87745" y="447633"/>
                </a:cubicBezTo>
                <a:cubicBezTo>
                  <a:pt x="87745" y="440321"/>
                  <a:pt x="87745" y="431547"/>
                  <a:pt x="87745" y="424235"/>
                </a:cubicBezTo>
                <a:cubicBezTo>
                  <a:pt x="89208" y="412535"/>
                  <a:pt x="92133" y="400836"/>
                  <a:pt x="96520" y="383287"/>
                </a:cubicBezTo>
                <a:cubicBezTo>
                  <a:pt x="102370" y="367200"/>
                  <a:pt x="109682" y="346726"/>
                  <a:pt x="121381" y="320403"/>
                </a:cubicBezTo>
                <a:cubicBezTo>
                  <a:pt x="133081" y="297004"/>
                  <a:pt x="149167" y="266293"/>
                  <a:pt x="168179" y="237044"/>
                </a:cubicBezTo>
                <a:cubicBezTo>
                  <a:pt x="187190" y="207796"/>
                  <a:pt x="207664" y="178547"/>
                  <a:pt x="226676" y="153686"/>
                </a:cubicBezTo>
                <a:cubicBezTo>
                  <a:pt x="245687" y="128825"/>
                  <a:pt x="264699" y="109814"/>
                  <a:pt x="280785" y="93727"/>
                </a:cubicBezTo>
                <a:cubicBezTo>
                  <a:pt x="296872" y="77640"/>
                  <a:pt x="310034" y="65941"/>
                  <a:pt x="323196" y="57166"/>
                </a:cubicBezTo>
                <a:cubicBezTo>
                  <a:pt x="334895" y="48392"/>
                  <a:pt x="345132" y="42542"/>
                  <a:pt x="353907" y="38155"/>
                </a:cubicBezTo>
                <a:cubicBezTo>
                  <a:pt x="362681" y="33768"/>
                  <a:pt x="369993" y="30843"/>
                  <a:pt x="377305" y="29380"/>
                </a:cubicBezTo>
                <a:cubicBezTo>
                  <a:pt x="384617" y="27918"/>
                  <a:pt x="390467" y="26455"/>
                  <a:pt x="396317" y="26455"/>
                </a:cubicBezTo>
                <a:cubicBezTo>
                  <a:pt x="400704" y="26455"/>
                  <a:pt x="403629" y="26455"/>
                  <a:pt x="406554" y="29380"/>
                </a:cubicBezTo>
                <a:cubicBezTo>
                  <a:pt x="409479" y="32305"/>
                  <a:pt x="409479" y="35230"/>
                  <a:pt x="409479" y="39617"/>
                </a:cubicBezTo>
                <a:cubicBezTo>
                  <a:pt x="409479" y="41080"/>
                  <a:pt x="409479" y="44005"/>
                  <a:pt x="409479" y="46929"/>
                </a:cubicBezTo>
                <a:cubicBezTo>
                  <a:pt x="400704" y="51317"/>
                  <a:pt x="390467" y="58629"/>
                  <a:pt x="383155" y="64478"/>
                </a:cubicBezTo>
                <a:cubicBezTo>
                  <a:pt x="380230" y="67403"/>
                  <a:pt x="377305" y="70328"/>
                  <a:pt x="374381" y="73253"/>
                </a:cubicBezTo>
                <a:cubicBezTo>
                  <a:pt x="368531" y="79103"/>
                  <a:pt x="365606" y="84952"/>
                  <a:pt x="364144" y="92265"/>
                </a:cubicBezTo>
                <a:cubicBezTo>
                  <a:pt x="362681" y="96652"/>
                  <a:pt x="368531" y="105426"/>
                  <a:pt x="371456" y="106889"/>
                </a:cubicBezTo>
                <a:cubicBezTo>
                  <a:pt x="383155" y="115663"/>
                  <a:pt x="396317" y="109814"/>
                  <a:pt x="409479" y="93727"/>
                </a:cubicBezTo>
                <a:cubicBezTo>
                  <a:pt x="412404" y="90802"/>
                  <a:pt x="415328" y="86415"/>
                  <a:pt x="416791" y="83490"/>
                </a:cubicBezTo>
                <a:cubicBezTo>
                  <a:pt x="419716" y="79103"/>
                  <a:pt x="421178" y="74715"/>
                  <a:pt x="422640" y="70328"/>
                </a:cubicBezTo>
                <a:cubicBezTo>
                  <a:pt x="429953" y="52779"/>
                  <a:pt x="432877" y="35230"/>
                  <a:pt x="422640" y="19143"/>
                </a:cubicBezTo>
                <a:cubicBezTo>
                  <a:pt x="419716" y="16219"/>
                  <a:pt x="416791" y="13294"/>
                  <a:pt x="413866" y="10369"/>
                </a:cubicBezTo>
                <a:cubicBezTo>
                  <a:pt x="410941" y="7444"/>
                  <a:pt x="406554" y="5982"/>
                  <a:pt x="400704" y="4519"/>
                </a:cubicBezTo>
                <a:cubicBezTo>
                  <a:pt x="396317" y="3057"/>
                  <a:pt x="390467" y="1594"/>
                  <a:pt x="381693" y="3057"/>
                </a:cubicBezTo>
                <a:cubicBezTo>
                  <a:pt x="372918" y="3057"/>
                  <a:pt x="362681" y="4519"/>
                  <a:pt x="349519" y="7444"/>
                </a:cubicBezTo>
                <a:cubicBezTo>
                  <a:pt x="336357" y="10369"/>
                  <a:pt x="323196" y="14756"/>
                  <a:pt x="307109" y="22068"/>
                </a:cubicBezTo>
                <a:cubicBezTo>
                  <a:pt x="291022" y="29380"/>
                  <a:pt x="273473" y="38155"/>
                  <a:pt x="254462" y="51317"/>
                </a:cubicBezTo>
                <a:cubicBezTo>
                  <a:pt x="235450" y="64478"/>
                  <a:pt x="213514" y="80565"/>
                  <a:pt x="191578" y="99577"/>
                </a:cubicBezTo>
                <a:cubicBezTo>
                  <a:pt x="169641" y="120051"/>
                  <a:pt x="146242" y="141987"/>
                  <a:pt x="125768" y="166848"/>
                </a:cubicBezTo>
                <a:cubicBezTo>
                  <a:pt x="83358" y="216570"/>
                  <a:pt x="49722" y="270680"/>
                  <a:pt x="30711" y="311628"/>
                </a:cubicBezTo>
                <a:cubicBezTo>
                  <a:pt x="20474" y="333564"/>
                  <a:pt x="14624" y="351113"/>
                  <a:pt x="8775" y="368662"/>
                </a:cubicBezTo>
                <a:cubicBezTo>
                  <a:pt x="4387" y="384749"/>
                  <a:pt x="1462" y="399373"/>
                  <a:pt x="0" y="413998"/>
                </a:cubicBezTo>
                <a:cubicBezTo>
                  <a:pt x="0" y="437396"/>
                  <a:pt x="1462" y="456408"/>
                  <a:pt x="4387" y="472495"/>
                </a:cubicBezTo>
                <a:cubicBezTo>
                  <a:pt x="5850" y="479807"/>
                  <a:pt x="7312" y="487119"/>
                  <a:pt x="10237" y="492968"/>
                </a:cubicBezTo>
                <a:cubicBezTo>
                  <a:pt x="13162" y="500281"/>
                  <a:pt x="16087" y="506130"/>
                  <a:pt x="19012" y="510518"/>
                </a:cubicBezTo>
                <a:cubicBezTo>
                  <a:pt x="21936" y="516367"/>
                  <a:pt x="26324" y="520755"/>
                  <a:pt x="30711" y="526604"/>
                </a:cubicBezTo>
                <a:cubicBezTo>
                  <a:pt x="35098" y="530991"/>
                  <a:pt x="40948" y="535379"/>
                  <a:pt x="46798" y="539766"/>
                </a:cubicBezTo>
                <a:cubicBezTo>
                  <a:pt x="52647" y="544153"/>
                  <a:pt x="59959" y="547078"/>
                  <a:pt x="70196" y="551465"/>
                </a:cubicBezTo>
                <a:cubicBezTo>
                  <a:pt x="78971" y="554390"/>
                  <a:pt x="89208" y="557315"/>
                  <a:pt x="102370" y="560240"/>
                </a:cubicBezTo>
                <a:cubicBezTo>
                  <a:pt x="115531" y="561702"/>
                  <a:pt x="130156" y="563165"/>
                  <a:pt x="146242" y="563165"/>
                </a:cubicBezTo>
                <a:cubicBezTo>
                  <a:pt x="171104" y="564627"/>
                  <a:pt x="194502" y="561702"/>
                  <a:pt x="235450" y="552928"/>
                </a:cubicBezTo>
                <a:cubicBezTo>
                  <a:pt x="276398" y="544153"/>
                  <a:pt x="333433" y="528067"/>
                  <a:pt x="375843" y="519292"/>
                </a:cubicBezTo>
                <a:cubicBezTo>
                  <a:pt x="416791" y="510518"/>
                  <a:pt x="441652" y="509055"/>
                  <a:pt x="466513" y="509055"/>
                </a:cubicBezTo>
                <a:cubicBezTo>
                  <a:pt x="482600" y="509055"/>
                  <a:pt x="497224" y="510518"/>
                  <a:pt x="508924" y="511980"/>
                </a:cubicBezTo>
                <a:cubicBezTo>
                  <a:pt x="520623" y="513442"/>
                  <a:pt x="530860" y="516367"/>
                  <a:pt x="539634" y="520755"/>
                </a:cubicBezTo>
                <a:cubicBezTo>
                  <a:pt x="548409" y="525142"/>
                  <a:pt x="555721" y="529529"/>
                  <a:pt x="564496" y="536841"/>
                </a:cubicBezTo>
                <a:cubicBezTo>
                  <a:pt x="573270" y="544153"/>
                  <a:pt x="582045" y="552928"/>
                  <a:pt x="590819" y="563165"/>
                </a:cubicBezTo>
                <a:cubicBezTo>
                  <a:pt x="617143" y="545616"/>
                  <a:pt x="644929" y="533916"/>
                  <a:pt x="665403" y="530991"/>
                </a:cubicBezTo>
                <a:cubicBezTo>
                  <a:pt x="675640" y="529529"/>
                  <a:pt x="685877" y="528067"/>
                  <a:pt x="694651" y="528067"/>
                </a:cubicBezTo>
                <a:cubicBezTo>
                  <a:pt x="699039" y="528067"/>
                  <a:pt x="701963" y="528067"/>
                  <a:pt x="707813" y="529529"/>
                </a:cubicBezTo>
                <a:cubicBezTo>
                  <a:pt x="712200" y="529529"/>
                  <a:pt x="718050" y="530991"/>
                  <a:pt x="732674" y="535379"/>
                </a:cubicBezTo>
                <a:cubicBezTo>
                  <a:pt x="747299" y="539766"/>
                  <a:pt x="772160" y="548541"/>
                  <a:pt x="795559" y="558778"/>
                </a:cubicBezTo>
                <a:cubicBezTo>
                  <a:pt x="772160" y="536841"/>
                  <a:pt x="745836" y="516367"/>
                  <a:pt x="722437" y="503205"/>
                </a:cubicBezTo>
                <a:cubicBezTo>
                  <a:pt x="699039" y="488581"/>
                  <a:pt x="678565" y="479807"/>
                  <a:pt x="652241" y="475419"/>
                </a:cubicBezTo>
                <a:close/>
                <a:moveTo>
                  <a:pt x="960812" y="147837"/>
                </a:moveTo>
                <a:lnTo>
                  <a:pt x="905240" y="147837"/>
                </a:lnTo>
                <a:lnTo>
                  <a:pt x="877454" y="199021"/>
                </a:lnTo>
                <a:lnTo>
                  <a:pt x="931564" y="199021"/>
                </a:lnTo>
                <a:lnTo>
                  <a:pt x="960812" y="147837"/>
                </a:lnTo>
                <a:close/>
                <a:moveTo>
                  <a:pt x="1775383" y="58629"/>
                </a:moveTo>
                <a:cubicBezTo>
                  <a:pt x="1751984" y="71791"/>
                  <a:pt x="1731510" y="82028"/>
                  <a:pt x="1708111" y="87877"/>
                </a:cubicBezTo>
                <a:cubicBezTo>
                  <a:pt x="1684712" y="93727"/>
                  <a:pt x="1656926" y="96652"/>
                  <a:pt x="1630603" y="96652"/>
                </a:cubicBezTo>
                <a:lnTo>
                  <a:pt x="1582343" y="155149"/>
                </a:lnTo>
                <a:cubicBezTo>
                  <a:pt x="1586730" y="155149"/>
                  <a:pt x="1589655" y="156611"/>
                  <a:pt x="1594042" y="156611"/>
                </a:cubicBezTo>
                <a:cubicBezTo>
                  <a:pt x="1599892" y="158074"/>
                  <a:pt x="1607204" y="158074"/>
                  <a:pt x="1617441" y="158074"/>
                </a:cubicBezTo>
                <a:cubicBezTo>
                  <a:pt x="1634990" y="158074"/>
                  <a:pt x="1652539" y="155149"/>
                  <a:pt x="1670088" y="150761"/>
                </a:cubicBezTo>
                <a:cubicBezTo>
                  <a:pt x="1706649" y="140524"/>
                  <a:pt x="1749059" y="120051"/>
                  <a:pt x="1781232" y="92265"/>
                </a:cubicBezTo>
                <a:cubicBezTo>
                  <a:pt x="1797319" y="79103"/>
                  <a:pt x="1811943" y="64478"/>
                  <a:pt x="1822180" y="49854"/>
                </a:cubicBezTo>
                <a:cubicBezTo>
                  <a:pt x="1833880" y="35230"/>
                  <a:pt x="1841192" y="20606"/>
                  <a:pt x="1848504" y="5982"/>
                </a:cubicBezTo>
                <a:cubicBezTo>
                  <a:pt x="1825105" y="26455"/>
                  <a:pt x="1798781" y="45467"/>
                  <a:pt x="1775383" y="58629"/>
                </a:cubicBezTo>
                <a:close/>
                <a:moveTo>
                  <a:pt x="1712498" y="427159"/>
                </a:moveTo>
                <a:cubicBezTo>
                  <a:pt x="1702261" y="440321"/>
                  <a:pt x="1692024" y="453483"/>
                  <a:pt x="1683250" y="463720"/>
                </a:cubicBezTo>
                <a:cubicBezTo>
                  <a:pt x="1674475" y="473957"/>
                  <a:pt x="1668626" y="479807"/>
                  <a:pt x="1662776" y="485656"/>
                </a:cubicBezTo>
                <a:cubicBezTo>
                  <a:pt x="1658389" y="490044"/>
                  <a:pt x="1654001" y="494431"/>
                  <a:pt x="1651077" y="495893"/>
                </a:cubicBezTo>
                <a:cubicBezTo>
                  <a:pt x="1648152" y="498818"/>
                  <a:pt x="1645227" y="500281"/>
                  <a:pt x="1643764" y="501743"/>
                </a:cubicBezTo>
                <a:cubicBezTo>
                  <a:pt x="1639377" y="504668"/>
                  <a:pt x="1636452" y="504668"/>
                  <a:pt x="1632065" y="504668"/>
                </a:cubicBezTo>
                <a:cubicBezTo>
                  <a:pt x="1627678" y="503205"/>
                  <a:pt x="1627678" y="500281"/>
                  <a:pt x="1627678" y="497356"/>
                </a:cubicBezTo>
                <a:cubicBezTo>
                  <a:pt x="1627678" y="495893"/>
                  <a:pt x="1627678" y="497356"/>
                  <a:pt x="1632065" y="487119"/>
                </a:cubicBezTo>
                <a:cubicBezTo>
                  <a:pt x="1636452" y="478344"/>
                  <a:pt x="1645227" y="463720"/>
                  <a:pt x="1652539" y="447633"/>
                </a:cubicBezTo>
                <a:lnTo>
                  <a:pt x="1749059" y="283842"/>
                </a:lnTo>
                <a:lnTo>
                  <a:pt x="1702261" y="283842"/>
                </a:lnTo>
                <a:lnTo>
                  <a:pt x="1686175" y="298466"/>
                </a:lnTo>
                <a:cubicBezTo>
                  <a:pt x="1680325" y="294079"/>
                  <a:pt x="1674475" y="291154"/>
                  <a:pt x="1670088" y="288229"/>
                </a:cubicBezTo>
                <a:cubicBezTo>
                  <a:pt x="1665701" y="285304"/>
                  <a:pt x="1662776" y="285304"/>
                  <a:pt x="1659851" y="285304"/>
                </a:cubicBezTo>
                <a:cubicBezTo>
                  <a:pt x="1656926" y="285304"/>
                  <a:pt x="1654001" y="283842"/>
                  <a:pt x="1651077" y="283842"/>
                </a:cubicBezTo>
                <a:cubicBezTo>
                  <a:pt x="1634990" y="283842"/>
                  <a:pt x="1618903" y="289692"/>
                  <a:pt x="1601354" y="299929"/>
                </a:cubicBezTo>
                <a:cubicBezTo>
                  <a:pt x="1595504" y="302853"/>
                  <a:pt x="1591117" y="307241"/>
                  <a:pt x="1583805" y="311628"/>
                </a:cubicBezTo>
                <a:cubicBezTo>
                  <a:pt x="1577955" y="316015"/>
                  <a:pt x="1570643" y="321865"/>
                  <a:pt x="1561869" y="330639"/>
                </a:cubicBezTo>
                <a:cubicBezTo>
                  <a:pt x="1553094" y="337952"/>
                  <a:pt x="1544320" y="348189"/>
                  <a:pt x="1526771" y="370125"/>
                </a:cubicBezTo>
                <a:cubicBezTo>
                  <a:pt x="1509221" y="392061"/>
                  <a:pt x="1484360" y="425697"/>
                  <a:pt x="1466811" y="449096"/>
                </a:cubicBezTo>
                <a:cubicBezTo>
                  <a:pt x="1449262" y="472495"/>
                  <a:pt x="1439025" y="484194"/>
                  <a:pt x="1431713" y="492968"/>
                </a:cubicBezTo>
                <a:cubicBezTo>
                  <a:pt x="1424401" y="500281"/>
                  <a:pt x="1421476" y="503205"/>
                  <a:pt x="1418551" y="506130"/>
                </a:cubicBezTo>
                <a:cubicBezTo>
                  <a:pt x="1415626" y="507593"/>
                  <a:pt x="1412701" y="509055"/>
                  <a:pt x="1411239" y="510518"/>
                </a:cubicBezTo>
                <a:cubicBezTo>
                  <a:pt x="1408314" y="511980"/>
                  <a:pt x="1406852" y="511980"/>
                  <a:pt x="1403927" y="511980"/>
                </a:cubicBezTo>
                <a:cubicBezTo>
                  <a:pt x="1399540" y="511980"/>
                  <a:pt x="1393690" y="504668"/>
                  <a:pt x="1393690" y="500281"/>
                </a:cubicBezTo>
                <a:cubicBezTo>
                  <a:pt x="1392228" y="491506"/>
                  <a:pt x="1393690" y="488581"/>
                  <a:pt x="1396615" y="475419"/>
                </a:cubicBezTo>
                <a:cubicBezTo>
                  <a:pt x="1398077" y="468107"/>
                  <a:pt x="1401002" y="456408"/>
                  <a:pt x="1406852" y="441784"/>
                </a:cubicBezTo>
                <a:cubicBezTo>
                  <a:pt x="1411239" y="427159"/>
                  <a:pt x="1417089" y="409610"/>
                  <a:pt x="1424401" y="392061"/>
                </a:cubicBezTo>
                <a:cubicBezTo>
                  <a:pt x="1460961" y="368662"/>
                  <a:pt x="1496060" y="342339"/>
                  <a:pt x="1523846" y="320403"/>
                </a:cubicBezTo>
                <a:cubicBezTo>
                  <a:pt x="1551632" y="298466"/>
                  <a:pt x="1570643" y="277992"/>
                  <a:pt x="1589655" y="256056"/>
                </a:cubicBezTo>
                <a:cubicBezTo>
                  <a:pt x="1608666" y="232657"/>
                  <a:pt x="1629140" y="206334"/>
                  <a:pt x="1648152" y="177085"/>
                </a:cubicBezTo>
                <a:lnTo>
                  <a:pt x="1626215" y="180010"/>
                </a:lnTo>
                <a:cubicBezTo>
                  <a:pt x="1611591" y="200484"/>
                  <a:pt x="1596967" y="219495"/>
                  <a:pt x="1579418" y="239969"/>
                </a:cubicBezTo>
                <a:cubicBezTo>
                  <a:pt x="1561869" y="260443"/>
                  <a:pt x="1541395" y="280917"/>
                  <a:pt x="1517996" y="301391"/>
                </a:cubicBezTo>
                <a:cubicBezTo>
                  <a:pt x="1494597" y="321865"/>
                  <a:pt x="1471198" y="340876"/>
                  <a:pt x="1444875" y="358426"/>
                </a:cubicBezTo>
                <a:cubicBezTo>
                  <a:pt x="1460961" y="327715"/>
                  <a:pt x="1478511" y="298466"/>
                  <a:pt x="1496060" y="267755"/>
                </a:cubicBezTo>
                <a:cubicBezTo>
                  <a:pt x="1513609" y="238507"/>
                  <a:pt x="1532620" y="209258"/>
                  <a:pt x="1551632" y="182935"/>
                </a:cubicBezTo>
                <a:cubicBezTo>
                  <a:pt x="1570643" y="156611"/>
                  <a:pt x="1588192" y="133212"/>
                  <a:pt x="1605741" y="112738"/>
                </a:cubicBezTo>
                <a:cubicBezTo>
                  <a:pt x="1621828" y="92265"/>
                  <a:pt x="1637915" y="77640"/>
                  <a:pt x="1649614" y="65941"/>
                </a:cubicBezTo>
                <a:cubicBezTo>
                  <a:pt x="1661314" y="54242"/>
                  <a:pt x="1671550" y="46929"/>
                  <a:pt x="1678863" y="41080"/>
                </a:cubicBezTo>
                <a:cubicBezTo>
                  <a:pt x="1686175" y="35230"/>
                  <a:pt x="1692024" y="33768"/>
                  <a:pt x="1694949" y="30843"/>
                </a:cubicBezTo>
                <a:cubicBezTo>
                  <a:pt x="1699337" y="29380"/>
                  <a:pt x="1702261" y="27918"/>
                  <a:pt x="1703724" y="27918"/>
                </a:cubicBezTo>
                <a:cubicBezTo>
                  <a:pt x="1705186" y="27918"/>
                  <a:pt x="1706649" y="27918"/>
                  <a:pt x="1708111" y="29380"/>
                </a:cubicBezTo>
                <a:cubicBezTo>
                  <a:pt x="1712498" y="33768"/>
                  <a:pt x="1712498" y="36692"/>
                  <a:pt x="1711036" y="41080"/>
                </a:cubicBezTo>
                <a:cubicBezTo>
                  <a:pt x="1711036" y="42542"/>
                  <a:pt x="1711036" y="44005"/>
                  <a:pt x="1708111" y="49854"/>
                </a:cubicBezTo>
                <a:cubicBezTo>
                  <a:pt x="1705186" y="55704"/>
                  <a:pt x="1702261" y="65941"/>
                  <a:pt x="1697874" y="74715"/>
                </a:cubicBezTo>
                <a:lnTo>
                  <a:pt x="1716886" y="71791"/>
                </a:lnTo>
                <a:cubicBezTo>
                  <a:pt x="1719810" y="65941"/>
                  <a:pt x="1724198" y="60091"/>
                  <a:pt x="1725660" y="55704"/>
                </a:cubicBezTo>
                <a:cubicBezTo>
                  <a:pt x="1727123" y="51317"/>
                  <a:pt x="1728585" y="49854"/>
                  <a:pt x="1728585" y="46929"/>
                </a:cubicBezTo>
                <a:cubicBezTo>
                  <a:pt x="1728585" y="44005"/>
                  <a:pt x="1730047" y="41080"/>
                  <a:pt x="1730047" y="38155"/>
                </a:cubicBezTo>
                <a:cubicBezTo>
                  <a:pt x="1730047" y="27918"/>
                  <a:pt x="1728585" y="19143"/>
                  <a:pt x="1719810" y="11831"/>
                </a:cubicBezTo>
                <a:cubicBezTo>
                  <a:pt x="1716886" y="10369"/>
                  <a:pt x="1715423" y="8906"/>
                  <a:pt x="1712498" y="7444"/>
                </a:cubicBezTo>
                <a:cubicBezTo>
                  <a:pt x="1702261" y="4519"/>
                  <a:pt x="1693487" y="5982"/>
                  <a:pt x="1681787" y="8906"/>
                </a:cubicBezTo>
                <a:cubicBezTo>
                  <a:pt x="1673013" y="11831"/>
                  <a:pt x="1664238" y="14756"/>
                  <a:pt x="1652539" y="20606"/>
                </a:cubicBezTo>
                <a:cubicBezTo>
                  <a:pt x="1640840" y="26455"/>
                  <a:pt x="1629140" y="35230"/>
                  <a:pt x="1613053" y="46929"/>
                </a:cubicBezTo>
                <a:cubicBezTo>
                  <a:pt x="1596967" y="58629"/>
                  <a:pt x="1579418" y="76178"/>
                  <a:pt x="1558944" y="98114"/>
                </a:cubicBezTo>
                <a:cubicBezTo>
                  <a:pt x="1538470" y="120051"/>
                  <a:pt x="1515071" y="146374"/>
                  <a:pt x="1491672" y="178547"/>
                </a:cubicBezTo>
                <a:cubicBezTo>
                  <a:pt x="1468274" y="209258"/>
                  <a:pt x="1443412" y="245819"/>
                  <a:pt x="1420014" y="282380"/>
                </a:cubicBezTo>
                <a:cubicBezTo>
                  <a:pt x="1398077" y="318940"/>
                  <a:pt x="1377603" y="356963"/>
                  <a:pt x="1358592" y="394986"/>
                </a:cubicBezTo>
                <a:lnTo>
                  <a:pt x="1332268" y="394986"/>
                </a:lnTo>
                <a:cubicBezTo>
                  <a:pt x="1336655" y="384749"/>
                  <a:pt x="1342505" y="373050"/>
                  <a:pt x="1345430" y="365738"/>
                </a:cubicBezTo>
                <a:cubicBezTo>
                  <a:pt x="1348355" y="358426"/>
                  <a:pt x="1349817" y="352576"/>
                  <a:pt x="1351280" y="348189"/>
                </a:cubicBezTo>
                <a:cubicBezTo>
                  <a:pt x="1354205" y="335027"/>
                  <a:pt x="1354205" y="320403"/>
                  <a:pt x="1349817" y="308703"/>
                </a:cubicBezTo>
                <a:cubicBezTo>
                  <a:pt x="1348355" y="305778"/>
                  <a:pt x="1346892" y="301391"/>
                  <a:pt x="1343968" y="299929"/>
                </a:cubicBezTo>
                <a:cubicBezTo>
                  <a:pt x="1335193" y="289692"/>
                  <a:pt x="1327881" y="288229"/>
                  <a:pt x="1317644" y="288229"/>
                </a:cubicBezTo>
                <a:cubicBezTo>
                  <a:pt x="1313257" y="288229"/>
                  <a:pt x="1308869" y="288229"/>
                  <a:pt x="1303020" y="291154"/>
                </a:cubicBezTo>
                <a:cubicBezTo>
                  <a:pt x="1297170" y="292616"/>
                  <a:pt x="1291320" y="294079"/>
                  <a:pt x="1282546" y="298466"/>
                </a:cubicBezTo>
                <a:cubicBezTo>
                  <a:pt x="1275234" y="301391"/>
                  <a:pt x="1266459" y="307241"/>
                  <a:pt x="1257685" y="313090"/>
                </a:cubicBezTo>
                <a:cubicBezTo>
                  <a:pt x="1247448" y="320403"/>
                  <a:pt x="1237211" y="327715"/>
                  <a:pt x="1226974" y="339414"/>
                </a:cubicBezTo>
                <a:cubicBezTo>
                  <a:pt x="1215274" y="349651"/>
                  <a:pt x="1203575" y="362813"/>
                  <a:pt x="1193338" y="375975"/>
                </a:cubicBezTo>
                <a:cubicBezTo>
                  <a:pt x="1169939" y="403761"/>
                  <a:pt x="1152390" y="434472"/>
                  <a:pt x="1142153" y="457870"/>
                </a:cubicBezTo>
                <a:cubicBezTo>
                  <a:pt x="1136303" y="469570"/>
                  <a:pt x="1133379" y="479807"/>
                  <a:pt x="1130454" y="490044"/>
                </a:cubicBezTo>
                <a:cubicBezTo>
                  <a:pt x="1127529" y="498818"/>
                  <a:pt x="1126066" y="507593"/>
                  <a:pt x="1126066" y="514905"/>
                </a:cubicBezTo>
                <a:cubicBezTo>
                  <a:pt x="1126066" y="522217"/>
                  <a:pt x="1126066" y="528067"/>
                  <a:pt x="1126066" y="532454"/>
                </a:cubicBezTo>
                <a:cubicBezTo>
                  <a:pt x="1127529" y="538304"/>
                  <a:pt x="1128991" y="542691"/>
                  <a:pt x="1130454" y="547078"/>
                </a:cubicBezTo>
                <a:cubicBezTo>
                  <a:pt x="1131916" y="551465"/>
                  <a:pt x="1134841" y="554390"/>
                  <a:pt x="1139228" y="557315"/>
                </a:cubicBezTo>
                <a:cubicBezTo>
                  <a:pt x="1142153" y="560240"/>
                  <a:pt x="1146540" y="563165"/>
                  <a:pt x="1150928" y="564627"/>
                </a:cubicBezTo>
                <a:cubicBezTo>
                  <a:pt x="1155315" y="566090"/>
                  <a:pt x="1159702" y="567552"/>
                  <a:pt x="1165552" y="567552"/>
                </a:cubicBezTo>
                <a:cubicBezTo>
                  <a:pt x="1175789" y="567552"/>
                  <a:pt x="1186026" y="564627"/>
                  <a:pt x="1197725" y="558778"/>
                </a:cubicBezTo>
                <a:cubicBezTo>
                  <a:pt x="1203575" y="555853"/>
                  <a:pt x="1210887" y="551465"/>
                  <a:pt x="1219662" y="545616"/>
                </a:cubicBezTo>
                <a:cubicBezTo>
                  <a:pt x="1228436" y="539766"/>
                  <a:pt x="1237211" y="530991"/>
                  <a:pt x="1247448" y="520755"/>
                </a:cubicBezTo>
                <a:cubicBezTo>
                  <a:pt x="1257685" y="510518"/>
                  <a:pt x="1269384" y="495893"/>
                  <a:pt x="1282546" y="478344"/>
                </a:cubicBezTo>
                <a:cubicBezTo>
                  <a:pt x="1295708" y="460795"/>
                  <a:pt x="1311794" y="438859"/>
                  <a:pt x="1324956" y="415460"/>
                </a:cubicBezTo>
                <a:lnTo>
                  <a:pt x="1351280" y="415460"/>
                </a:lnTo>
                <a:cubicBezTo>
                  <a:pt x="1342505" y="437396"/>
                  <a:pt x="1335193" y="460795"/>
                  <a:pt x="1329343" y="475419"/>
                </a:cubicBezTo>
                <a:cubicBezTo>
                  <a:pt x="1324956" y="490044"/>
                  <a:pt x="1323494" y="495893"/>
                  <a:pt x="1322031" y="501743"/>
                </a:cubicBezTo>
                <a:cubicBezTo>
                  <a:pt x="1320569" y="513442"/>
                  <a:pt x="1319106" y="523679"/>
                  <a:pt x="1319106" y="532454"/>
                </a:cubicBezTo>
                <a:cubicBezTo>
                  <a:pt x="1319106" y="536841"/>
                  <a:pt x="1320569" y="541228"/>
                  <a:pt x="1322031" y="544153"/>
                </a:cubicBezTo>
                <a:cubicBezTo>
                  <a:pt x="1323494" y="547078"/>
                  <a:pt x="1324956" y="551465"/>
                  <a:pt x="1326418" y="554390"/>
                </a:cubicBezTo>
                <a:cubicBezTo>
                  <a:pt x="1327881" y="557315"/>
                  <a:pt x="1330806" y="560240"/>
                  <a:pt x="1333731" y="561702"/>
                </a:cubicBezTo>
                <a:cubicBezTo>
                  <a:pt x="1336655" y="563165"/>
                  <a:pt x="1339580" y="566090"/>
                  <a:pt x="1343968" y="566090"/>
                </a:cubicBezTo>
                <a:cubicBezTo>
                  <a:pt x="1346892" y="567552"/>
                  <a:pt x="1351280" y="567552"/>
                  <a:pt x="1355667" y="567552"/>
                </a:cubicBezTo>
                <a:cubicBezTo>
                  <a:pt x="1370291" y="567552"/>
                  <a:pt x="1383453" y="563165"/>
                  <a:pt x="1401002" y="551465"/>
                </a:cubicBezTo>
                <a:cubicBezTo>
                  <a:pt x="1406852" y="547078"/>
                  <a:pt x="1414164" y="541228"/>
                  <a:pt x="1422938" y="532454"/>
                </a:cubicBezTo>
                <a:cubicBezTo>
                  <a:pt x="1431713" y="523679"/>
                  <a:pt x="1441950" y="513442"/>
                  <a:pt x="1452187" y="501743"/>
                </a:cubicBezTo>
                <a:cubicBezTo>
                  <a:pt x="1452187" y="509055"/>
                  <a:pt x="1450724" y="516367"/>
                  <a:pt x="1450724" y="522217"/>
                </a:cubicBezTo>
                <a:cubicBezTo>
                  <a:pt x="1450724" y="528067"/>
                  <a:pt x="1450724" y="532454"/>
                  <a:pt x="1452187" y="536841"/>
                </a:cubicBezTo>
                <a:cubicBezTo>
                  <a:pt x="1452187" y="541228"/>
                  <a:pt x="1453649" y="544153"/>
                  <a:pt x="1455112" y="545616"/>
                </a:cubicBezTo>
                <a:cubicBezTo>
                  <a:pt x="1456574" y="548541"/>
                  <a:pt x="1456574" y="550003"/>
                  <a:pt x="1458037" y="552928"/>
                </a:cubicBezTo>
                <a:cubicBezTo>
                  <a:pt x="1460961" y="557315"/>
                  <a:pt x="1462424" y="558778"/>
                  <a:pt x="1465349" y="561702"/>
                </a:cubicBezTo>
                <a:cubicBezTo>
                  <a:pt x="1471198" y="564627"/>
                  <a:pt x="1475586" y="566090"/>
                  <a:pt x="1481435" y="566090"/>
                </a:cubicBezTo>
                <a:cubicBezTo>
                  <a:pt x="1484360" y="566090"/>
                  <a:pt x="1487285" y="566090"/>
                  <a:pt x="1491672" y="564627"/>
                </a:cubicBezTo>
                <a:cubicBezTo>
                  <a:pt x="1498984" y="563165"/>
                  <a:pt x="1506297" y="560240"/>
                  <a:pt x="1515071" y="555853"/>
                </a:cubicBezTo>
                <a:cubicBezTo>
                  <a:pt x="1519458" y="552928"/>
                  <a:pt x="1525308" y="550003"/>
                  <a:pt x="1531158" y="542691"/>
                </a:cubicBezTo>
                <a:cubicBezTo>
                  <a:pt x="1538470" y="536841"/>
                  <a:pt x="1547244" y="528067"/>
                  <a:pt x="1556019" y="519292"/>
                </a:cubicBezTo>
                <a:cubicBezTo>
                  <a:pt x="1556019" y="525142"/>
                  <a:pt x="1554557" y="532454"/>
                  <a:pt x="1554557" y="536841"/>
                </a:cubicBezTo>
                <a:cubicBezTo>
                  <a:pt x="1554557" y="541228"/>
                  <a:pt x="1554557" y="545616"/>
                  <a:pt x="1556019" y="547078"/>
                </a:cubicBezTo>
                <a:cubicBezTo>
                  <a:pt x="1556019" y="550003"/>
                  <a:pt x="1557481" y="551465"/>
                  <a:pt x="1557481" y="554390"/>
                </a:cubicBezTo>
                <a:cubicBezTo>
                  <a:pt x="1558944" y="560240"/>
                  <a:pt x="1564794" y="566090"/>
                  <a:pt x="1569181" y="566090"/>
                </a:cubicBezTo>
                <a:cubicBezTo>
                  <a:pt x="1583805" y="570477"/>
                  <a:pt x="1595504" y="566090"/>
                  <a:pt x="1611591" y="558778"/>
                </a:cubicBezTo>
                <a:cubicBezTo>
                  <a:pt x="1617441" y="555853"/>
                  <a:pt x="1624753" y="551465"/>
                  <a:pt x="1632065" y="545616"/>
                </a:cubicBezTo>
                <a:cubicBezTo>
                  <a:pt x="1639377" y="539766"/>
                  <a:pt x="1648152" y="532454"/>
                  <a:pt x="1658389" y="522217"/>
                </a:cubicBezTo>
                <a:cubicBezTo>
                  <a:pt x="1668626" y="511980"/>
                  <a:pt x="1678863" y="498818"/>
                  <a:pt x="1690562" y="482731"/>
                </a:cubicBezTo>
                <a:cubicBezTo>
                  <a:pt x="1702261" y="466645"/>
                  <a:pt x="1713961" y="447633"/>
                  <a:pt x="1725660" y="427159"/>
                </a:cubicBezTo>
                <a:lnTo>
                  <a:pt x="1712498" y="427159"/>
                </a:lnTo>
                <a:close/>
                <a:moveTo>
                  <a:pt x="1286933" y="441784"/>
                </a:moveTo>
                <a:cubicBezTo>
                  <a:pt x="1279621" y="452021"/>
                  <a:pt x="1272309" y="460795"/>
                  <a:pt x="1264997" y="469570"/>
                </a:cubicBezTo>
                <a:cubicBezTo>
                  <a:pt x="1257685" y="478344"/>
                  <a:pt x="1251835" y="484194"/>
                  <a:pt x="1245985" y="490044"/>
                </a:cubicBezTo>
                <a:cubicBezTo>
                  <a:pt x="1240135" y="495893"/>
                  <a:pt x="1235748" y="498818"/>
                  <a:pt x="1231361" y="501743"/>
                </a:cubicBezTo>
                <a:cubicBezTo>
                  <a:pt x="1226974" y="504668"/>
                  <a:pt x="1224049" y="506130"/>
                  <a:pt x="1222586" y="507593"/>
                </a:cubicBezTo>
                <a:cubicBezTo>
                  <a:pt x="1219662" y="509055"/>
                  <a:pt x="1218199" y="509055"/>
                  <a:pt x="1216737" y="509055"/>
                </a:cubicBezTo>
                <a:cubicBezTo>
                  <a:pt x="1210887" y="509055"/>
                  <a:pt x="1206500" y="506130"/>
                  <a:pt x="1202112" y="500281"/>
                </a:cubicBezTo>
                <a:cubicBezTo>
                  <a:pt x="1200650" y="498818"/>
                  <a:pt x="1199188" y="495893"/>
                  <a:pt x="1199188" y="492968"/>
                </a:cubicBezTo>
                <a:cubicBezTo>
                  <a:pt x="1197725" y="487119"/>
                  <a:pt x="1196263" y="481269"/>
                  <a:pt x="1197725" y="473957"/>
                </a:cubicBezTo>
                <a:cubicBezTo>
                  <a:pt x="1197725" y="469570"/>
                  <a:pt x="1199188" y="463720"/>
                  <a:pt x="1200650" y="457870"/>
                </a:cubicBezTo>
                <a:cubicBezTo>
                  <a:pt x="1202112" y="452021"/>
                  <a:pt x="1203575" y="446171"/>
                  <a:pt x="1206500" y="438859"/>
                </a:cubicBezTo>
                <a:cubicBezTo>
                  <a:pt x="1216737" y="416922"/>
                  <a:pt x="1234286" y="392061"/>
                  <a:pt x="1257685" y="371587"/>
                </a:cubicBezTo>
                <a:cubicBezTo>
                  <a:pt x="1260609" y="377437"/>
                  <a:pt x="1263534" y="381824"/>
                  <a:pt x="1267921" y="387674"/>
                </a:cubicBezTo>
                <a:cubicBezTo>
                  <a:pt x="1269384" y="390599"/>
                  <a:pt x="1272309" y="392061"/>
                  <a:pt x="1275234" y="394986"/>
                </a:cubicBezTo>
                <a:cubicBezTo>
                  <a:pt x="1278159" y="397911"/>
                  <a:pt x="1282546" y="399373"/>
                  <a:pt x="1288395" y="402298"/>
                </a:cubicBezTo>
                <a:cubicBezTo>
                  <a:pt x="1294245" y="405223"/>
                  <a:pt x="1301557" y="408148"/>
                  <a:pt x="1308869" y="409610"/>
                </a:cubicBezTo>
                <a:cubicBezTo>
                  <a:pt x="1300095" y="421310"/>
                  <a:pt x="1294245" y="433009"/>
                  <a:pt x="1286933" y="441784"/>
                </a:cubicBezTo>
                <a:close/>
                <a:moveTo>
                  <a:pt x="1332268" y="342339"/>
                </a:moveTo>
                <a:cubicBezTo>
                  <a:pt x="1332268" y="345264"/>
                  <a:pt x="1330806" y="349651"/>
                  <a:pt x="1330806" y="352576"/>
                </a:cubicBezTo>
                <a:cubicBezTo>
                  <a:pt x="1330806" y="355501"/>
                  <a:pt x="1329343" y="359888"/>
                  <a:pt x="1326418" y="365738"/>
                </a:cubicBezTo>
                <a:cubicBezTo>
                  <a:pt x="1323494" y="373050"/>
                  <a:pt x="1317644" y="383287"/>
                  <a:pt x="1313257" y="393524"/>
                </a:cubicBezTo>
                <a:cubicBezTo>
                  <a:pt x="1307407" y="392061"/>
                  <a:pt x="1301557" y="389136"/>
                  <a:pt x="1297170" y="387674"/>
                </a:cubicBezTo>
                <a:cubicBezTo>
                  <a:pt x="1292783" y="386212"/>
                  <a:pt x="1289858" y="383287"/>
                  <a:pt x="1288395" y="381824"/>
                </a:cubicBezTo>
                <a:cubicBezTo>
                  <a:pt x="1286933" y="380362"/>
                  <a:pt x="1284008" y="378899"/>
                  <a:pt x="1284008" y="377437"/>
                </a:cubicBezTo>
                <a:cubicBezTo>
                  <a:pt x="1281083" y="374512"/>
                  <a:pt x="1279621" y="371587"/>
                  <a:pt x="1278159" y="367200"/>
                </a:cubicBezTo>
                <a:cubicBezTo>
                  <a:pt x="1273771" y="349651"/>
                  <a:pt x="1276696" y="330639"/>
                  <a:pt x="1297170" y="317478"/>
                </a:cubicBezTo>
                <a:cubicBezTo>
                  <a:pt x="1303020" y="313090"/>
                  <a:pt x="1308869" y="311628"/>
                  <a:pt x="1314719" y="311628"/>
                </a:cubicBezTo>
                <a:cubicBezTo>
                  <a:pt x="1320569" y="311628"/>
                  <a:pt x="1324956" y="311628"/>
                  <a:pt x="1329343" y="316015"/>
                </a:cubicBezTo>
                <a:cubicBezTo>
                  <a:pt x="1333731" y="320403"/>
                  <a:pt x="1333731" y="324790"/>
                  <a:pt x="1333731" y="332102"/>
                </a:cubicBezTo>
                <a:cubicBezTo>
                  <a:pt x="1332268" y="335027"/>
                  <a:pt x="1332268" y="339414"/>
                  <a:pt x="1332268" y="342339"/>
                </a:cubicBezTo>
                <a:close/>
                <a:moveTo>
                  <a:pt x="1586730" y="454945"/>
                </a:moveTo>
                <a:cubicBezTo>
                  <a:pt x="1579418" y="465182"/>
                  <a:pt x="1572106" y="475419"/>
                  <a:pt x="1566256" y="482731"/>
                </a:cubicBezTo>
                <a:cubicBezTo>
                  <a:pt x="1560406" y="490044"/>
                  <a:pt x="1556019" y="494431"/>
                  <a:pt x="1551632" y="497356"/>
                </a:cubicBezTo>
                <a:cubicBezTo>
                  <a:pt x="1547244" y="500281"/>
                  <a:pt x="1544320" y="503205"/>
                  <a:pt x="1541395" y="504668"/>
                </a:cubicBezTo>
                <a:cubicBezTo>
                  <a:pt x="1535545" y="507593"/>
                  <a:pt x="1528233" y="507593"/>
                  <a:pt x="1523846" y="504668"/>
                </a:cubicBezTo>
                <a:cubicBezTo>
                  <a:pt x="1519458" y="500281"/>
                  <a:pt x="1520921" y="495893"/>
                  <a:pt x="1520921" y="490044"/>
                </a:cubicBezTo>
                <a:cubicBezTo>
                  <a:pt x="1520921" y="487119"/>
                  <a:pt x="1522383" y="482731"/>
                  <a:pt x="1522383" y="478344"/>
                </a:cubicBezTo>
                <a:cubicBezTo>
                  <a:pt x="1523846" y="473957"/>
                  <a:pt x="1525308" y="468107"/>
                  <a:pt x="1526771" y="463720"/>
                </a:cubicBezTo>
                <a:cubicBezTo>
                  <a:pt x="1528233" y="457870"/>
                  <a:pt x="1531158" y="452021"/>
                  <a:pt x="1535545" y="444709"/>
                </a:cubicBezTo>
                <a:cubicBezTo>
                  <a:pt x="1539932" y="437396"/>
                  <a:pt x="1544320" y="428622"/>
                  <a:pt x="1550169" y="419847"/>
                </a:cubicBezTo>
                <a:cubicBezTo>
                  <a:pt x="1556019" y="411073"/>
                  <a:pt x="1563331" y="399373"/>
                  <a:pt x="1572106" y="389136"/>
                </a:cubicBezTo>
                <a:cubicBezTo>
                  <a:pt x="1580880" y="378899"/>
                  <a:pt x="1589655" y="367200"/>
                  <a:pt x="1598429" y="358426"/>
                </a:cubicBezTo>
                <a:cubicBezTo>
                  <a:pt x="1607204" y="348189"/>
                  <a:pt x="1615978" y="340876"/>
                  <a:pt x="1623291" y="333564"/>
                </a:cubicBezTo>
                <a:cubicBezTo>
                  <a:pt x="1630603" y="327715"/>
                  <a:pt x="1636452" y="323327"/>
                  <a:pt x="1640840" y="320403"/>
                </a:cubicBezTo>
                <a:cubicBezTo>
                  <a:pt x="1645227" y="317478"/>
                  <a:pt x="1648152" y="316015"/>
                  <a:pt x="1651077" y="314553"/>
                </a:cubicBezTo>
                <a:cubicBezTo>
                  <a:pt x="1654001" y="313090"/>
                  <a:pt x="1655464" y="313090"/>
                  <a:pt x="1656926" y="313090"/>
                </a:cubicBezTo>
                <a:cubicBezTo>
                  <a:pt x="1659851" y="313090"/>
                  <a:pt x="1662776" y="313090"/>
                  <a:pt x="1665701" y="314553"/>
                </a:cubicBezTo>
                <a:cubicBezTo>
                  <a:pt x="1668626" y="317478"/>
                  <a:pt x="1667163" y="321865"/>
                  <a:pt x="1665701" y="326252"/>
                </a:cubicBezTo>
                <a:cubicBezTo>
                  <a:pt x="1664238" y="329177"/>
                  <a:pt x="1664238" y="332102"/>
                  <a:pt x="1661314" y="336489"/>
                </a:cubicBezTo>
                <a:cubicBezTo>
                  <a:pt x="1659851" y="340876"/>
                  <a:pt x="1656926" y="345264"/>
                  <a:pt x="1654001" y="349651"/>
                </a:cubicBezTo>
                <a:lnTo>
                  <a:pt x="1586730" y="454945"/>
                </a:lnTo>
                <a:close/>
                <a:moveTo>
                  <a:pt x="1159702" y="362813"/>
                </a:moveTo>
                <a:cubicBezTo>
                  <a:pt x="1162627" y="351113"/>
                  <a:pt x="1164089" y="339414"/>
                  <a:pt x="1165552" y="329177"/>
                </a:cubicBezTo>
                <a:cubicBezTo>
                  <a:pt x="1167014" y="320403"/>
                  <a:pt x="1165552" y="313090"/>
                  <a:pt x="1164089" y="305778"/>
                </a:cubicBezTo>
                <a:cubicBezTo>
                  <a:pt x="1162627" y="302853"/>
                  <a:pt x="1161165" y="299929"/>
                  <a:pt x="1161165" y="298466"/>
                </a:cubicBezTo>
                <a:cubicBezTo>
                  <a:pt x="1158240" y="292616"/>
                  <a:pt x="1153852" y="291154"/>
                  <a:pt x="1149465" y="288229"/>
                </a:cubicBezTo>
                <a:cubicBezTo>
                  <a:pt x="1146540" y="286767"/>
                  <a:pt x="1143615" y="285304"/>
                  <a:pt x="1140691" y="285304"/>
                </a:cubicBezTo>
                <a:cubicBezTo>
                  <a:pt x="1137766" y="283842"/>
                  <a:pt x="1133379" y="283842"/>
                  <a:pt x="1127529" y="283842"/>
                </a:cubicBezTo>
                <a:cubicBezTo>
                  <a:pt x="1123142" y="283842"/>
                  <a:pt x="1117292" y="283842"/>
                  <a:pt x="1111442" y="285304"/>
                </a:cubicBezTo>
                <a:cubicBezTo>
                  <a:pt x="1089506" y="289692"/>
                  <a:pt x="1066107" y="301391"/>
                  <a:pt x="1042708" y="327715"/>
                </a:cubicBezTo>
                <a:cubicBezTo>
                  <a:pt x="1036859" y="335027"/>
                  <a:pt x="1031009" y="342339"/>
                  <a:pt x="1025159" y="351113"/>
                </a:cubicBezTo>
                <a:cubicBezTo>
                  <a:pt x="1019309" y="359888"/>
                  <a:pt x="1013460" y="370125"/>
                  <a:pt x="1007610" y="381824"/>
                </a:cubicBezTo>
                <a:cubicBezTo>
                  <a:pt x="1001760" y="393524"/>
                  <a:pt x="997373" y="405223"/>
                  <a:pt x="992986" y="418385"/>
                </a:cubicBezTo>
                <a:cubicBezTo>
                  <a:pt x="988599" y="431547"/>
                  <a:pt x="985674" y="444709"/>
                  <a:pt x="982749" y="457870"/>
                </a:cubicBezTo>
                <a:cubicBezTo>
                  <a:pt x="994448" y="447633"/>
                  <a:pt x="1007610" y="437396"/>
                  <a:pt x="1016385" y="431547"/>
                </a:cubicBezTo>
                <a:cubicBezTo>
                  <a:pt x="1025159" y="424235"/>
                  <a:pt x="1031009" y="421310"/>
                  <a:pt x="1038321" y="416922"/>
                </a:cubicBezTo>
                <a:cubicBezTo>
                  <a:pt x="1045633" y="412535"/>
                  <a:pt x="1054408" y="408148"/>
                  <a:pt x="1064645" y="403761"/>
                </a:cubicBezTo>
                <a:cubicBezTo>
                  <a:pt x="1067569" y="389136"/>
                  <a:pt x="1073419" y="374512"/>
                  <a:pt x="1079269" y="361350"/>
                </a:cubicBezTo>
                <a:cubicBezTo>
                  <a:pt x="1082194" y="355501"/>
                  <a:pt x="1085119" y="349651"/>
                  <a:pt x="1088043" y="345264"/>
                </a:cubicBezTo>
                <a:cubicBezTo>
                  <a:pt x="1090968" y="340876"/>
                  <a:pt x="1093893" y="336489"/>
                  <a:pt x="1096818" y="333564"/>
                </a:cubicBezTo>
                <a:cubicBezTo>
                  <a:pt x="1104130" y="324790"/>
                  <a:pt x="1111442" y="318940"/>
                  <a:pt x="1118754" y="316015"/>
                </a:cubicBezTo>
                <a:cubicBezTo>
                  <a:pt x="1128991" y="313090"/>
                  <a:pt x="1137766" y="311628"/>
                  <a:pt x="1146540" y="318940"/>
                </a:cubicBezTo>
                <a:cubicBezTo>
                  <a:pt x="1150928" y="323327"/>
                  <a:pt x="1150928" y="327715"/>
                  <a:pt x="1150928" y="332102"/>
                </a:cubicBezTo>
                <a:cubicBezTo>
                  <a:pt x="1150928" y="349651"/>
                  <a:pt x="1146540" y="365738"/>
                  <a:pt x="1140691" y="384749"/>
                </a:cubicBezTo>
                <a:cubicBezTo>
                  <a:pt x="1137766" y="393524"/>
                  <a:pt x="1133379" y="400836"/>
                  <a:pt x="1128991" y="411073"/>
                </a:cubicBezTo>
                <a:cubicBezTo>
                  <a:pt x="1124604" y="419847"/>
                  <a:pt x="1118754" y="428622"/>
                  <a:pt x="1111442" y="438859"/>
                </a:cubicBezTo>
                <a:cubicBezTo>
                  <a:pt x="1098280" y="457870"/>
                  <a:pt x="1079269" y="478344"/>
                  <a:pt x="1057332" y="494431"/>
                </a:cubicBezTo>
                <a:cubicBezTo>
                  <a:pt x="1036859" y="510518"/>
                  <a:pt x="1016385" y="522217"/>
                  <a:pt x="1001760" y="526604"/>
                </a:cubicBezTo>
                <a:cubicBezTo>
                  <a:pt x="994448" y="528067"/>
                  <a:pt x="990061" y="529529"/>
                  <a:pt x="984211" y="529529"/>
                </a:cubicBezTo>
                <a:cubicBezTo>
                  <a:pt x="979824" y="529529"/>
                  <a:pt x="975437" y="529529"/>
                  <a:pt x="969587" y="528067"/>
                </a:cubicBezTo>
                <a:cubicBezTo>
                  <a:pt x="960812" y="525142"/>
                  <a:pt x="952038" y="519292"/>
                  <a:pt x="944726" y="510518"/>
                </a:cubicBezTo>
                <a:cubicBezTo>
                  <a:pt x="941801" y="506130"/>
                  <a:pt x="938876" y="501743"/>
                  <a:pt x="935951" y="495893"/>
                </a:cubicBezTo>
                <a:cubicBezTo>
                  <a:pt x="931564" y="485656"/>
                  <a:pt x="930102" y="473957"/>
                  <a:pt x="931564" y="463720"/>
                </a:cubicBezTo>
                <a:cubicBezTo>
                  <a:pt x="933026" y="452021"/>
                  <a:pt x="935951" y="440321"/>
                  <a:pt x="943263" y="419847"/>
                </a:cubicBezTo>
                <a:cubicBezTo>
                  <a:pt x="950576" y="399373"/>
                  <a:pt x="963737" y="370125"/>
                  <a:pt x="979824" y="337952"/>
                </a:cubicBezTo>
                <a:cubicBezTo>
                  <a:pt x="997373" y="305778"/>
                  <a:pt x="1017847" y="269218"/>
                  <a:pt x="1038321" y="238507"/>
                </a:cubicBezTo>
                <a:cubicBezTo>
                  <a:pt x="1058795" y="207796"/>
                  <a:pt x="1077806" y="180010"/>
                  <a:pt x="1096818" y="159536"/>
                </a:cubicBezTo>
                <a:cubicBezTo>
                  <a:pt x="1111442" y="137600"/>
                  <a:pt x="1127529" y="120051"/>
                  <a:pt x="1142153" y="106889"/>
                </a:cubicBezTo>
                <a:cubicBezTo>
                  <a:pt x="1156777" y="93727"/>
                  <a:pt x="1168477" y="82028"/>
                  <a:pt x="1180176" y="73253"/>
                </a:cubicBezTo>
                <a:cubicBezTo>
                  <a:pt x="1191875" y="64478"/>
                  <a:pt x="1200650" y="58629"/>
                  <a:pt x="1210887" y="52779"/>
                </a:cubicBezTo>
                <a:cubicBezTo>
                  <a:pt x="1219662" y="48392"/>
                  <a:pt x="1228436" y="44005"/>
                  <a:pt x="1235748" y="41080"/>
                </a:cubicBezTo>
                <a:cubicBezTo>
                  <a:pt x="1256222" y="33768"/>
                  <a:pt x="1273771" y="32305"/>
                  <a:pt x="1294245" y="33768"/>
                </a:cubicBezTo>
                <a:cubicBezTo>
                  <a:pt x="1278159" y="42542"/>
                  <a:pt x="1263534" y="52779"/>
                  <a:pt x="1250372" y="63016"/>
                </a:cubicBezTo>
                <a:cubicBezTo>
                  <a:pt x="1222586" y="84952"/>
                  <a:pt x="1203575" y="106889"/>
                  <a:pt x="1190413" y="125900"/>
                </a:cubicBezTo>
                <a:cubicBezTo>
                  <a:pt x="1183101" y="136137"/>
                  <a:pt x="1178714" y="144912"/>
                  <a:pt x="1174326" y="152224"/>
                </a:cubicBezTo>
                <a:cubicBezTo>
                  <a:pt x="1169939" y="160998"/>
                  <a:pt x="1167014" y="168311"/>
                  <a:pt x="1165552" y="175623"/>
                </a:cubicBezTo>
                <a:cubicBezTo>
                  <a:pt x="1164089" y="182935"/>
                  <a:pt x="1162627" y="190247"/>
                  <a:pt x="1161165" y="194634"/>
                </a:cubicBezTo>
                <a:cubicBezTo>
                  <a:pt x="1161165" y="200484"/>
                  <a:pt x="1161165" y="203409"/>
                  <a:pt x="1161165" y="207796"/>
                </a:cubicBezTo>
                <a:cubicBezTo>
                  <a:pt x="1161165" y="210721"/>
                  <a:pt x="1162627" y="213646"/>
                  <a:pt x="1164089" y="216570"/>
                </a:cubicBezTo>
                <a:cubicBezTo>
                  <a:pt x="1165552" y="219495"/>
                  <a:pt x="1167014" y="220958"/>
                  <a:pt x="1168477" y="223883"/>
                </a:cubicBezTo>
                <a:cubicBezTo>
                  <a:pt x="1169939" y="225345"/>
                  <a:pt x="1172864" y="228270"/>
                  <a:pt x="1174326" y="229732"/>
                </a:cubicBezTo>
                <a:cubicBezTo>
                  <a:pt x="1177251" y="231195"/>
                  <a:pt x="1180176" y="232657"/>
                  <a:pt x="1183101" y="232657"/>
                </a:cubicBezTo>
                <a:cubicBezTo>
                  <a:pt x="1186026" y="234120"/>
                  <a:pt x="1190413" y="234120"/>
                  <a:pt x="1194800" y="234120"/>
                </a:cubicBezTo>
                <a:cubicBezTo>
                  <a:pt x="1203575" y="234120"/>
                  <a:pt x="1210887" y="232657"/>
                  <a:pt x="1221124" y="226807"/>
                </a:cubicBezTo>
                <a:cubicBezTo>
                  <a:pt x="1226974" y="223883"/>
                  <a:pt x="1232823" y="220958"/>
                  <a:pt x="1238673" y="216570"/>
                </a:cubicBezTo>
                <a:cubicBezTo>
                  <a:pt x="1244523" y="212183"/>
                  <a:pt x="1251835" y="206334"/>
                  <a:pt x="1259147" y="199021"/>
                </a:cubicBezTo>
                <a:cubicBezTo>
                  <a:pt x="1266459" y="191709"/>
                  <a:pt x="1273771" y="184397"/>
                  <a:pt x="1279621" y="174160"/>
                </a:cubicBezTo>
                <a:cubicBezTo>
                  <a:pt x="1286933" y="165386"/>
                  <a:pt x="1292783" y="155149"/>
                  <a:pt x="1298632" y="144912"/>
                </a:cubicBezTo>
                <a:cubicBezTo>
                  <a:pt x="1308869" y="125900"/>
                  <a:pt x="1317644" y="106889"/>
                  <a:pt x="1320569" y="90802"/>
                </a:cubicBezTo>
                <a:cubicBezTo>
                  <a:pt x="1322031" y="83490"/>
                  <a:pt x="1323494" y="76178"/>
                  <a:pt x="1324956" y="68866"/>
                </a:cubicBezTo>
                <a:cubicBezTo>
                  <a:pt x="1324956" y="67403"/>
                  <a:pt x="1324956" y="65941"/>
                  <a:pt x="1324956" y="61554"/>
                </a:cubicBezTo>
                <a:cubicBezTo>
                  <a:pt x="1324956" y="58629"/>
                  <a:pt x="1324956" y="52779"/>
                  <a:pt x="1324956" y="48392"/>
                </a:cubicBezTo>
                <a:cubicBezTo>
                  <a:pt x="1324956" y="44005"/>
                  <a:pt x="1324956" y="42542"/>
                  <a:pt x="1324956" y="39617"/>
                </a:cubicBezTo>
                <a:cubicBezTo>
                  <a:pt x="1342505" y="39617"/>
                  <a:pt x="1360054" y="41080"/>
                  <a:pt x="1377603" y="45467"/>
                </a:cubicBezTo>
                <a:cubicBezTo>
                  <a:pt x="1393690" y="49854"/>
                  <a:pt x="1409777" y="57166"/>
                  <a:pt x="1431713" y="70328"/>
                </a:cubicBezTo>
                <a:cubicBezTo>
                  <a:pt x="1453649" y="84952"/>
                  <a:pt x="1482898" y="105426"/>
                  <a:pt x="1510684" y="128825"/>
                </a:cubicBezTo>
                <a:lnTo>
                  <a:pt x="1563331" y="74715"/>
                </a:lnTo>
                <a:cubicBezTo>
                  <a:pt x="1545782" y="60091"/>
                  <a:pt x="1528233" y="45467"/>
                  <a:pt x="1512146" y="35230"/>
                </a:cubicBezTo>
                <a:cubicBezTo>
                  <a:pt x="1496060" y="24993"/>
                  <a:pt x="1482898" y="17681"/>
                  <a:pt x="1471198" y="13294"/>
                </a:cubicBezTo>
                <a:cubicBezTo>
                  <a:pt x="1459499" y="8906"/>
                  <a:pt x="1447800" y="4519"/>
                  <a:pt x="1439025" y="3057"/>
                </a:cubicBezTo>
                <a:cubicBezTo>
                  <a:pt x="1424401" y="132"/>
                  <a:pt x="1411239" y="-1331"/>
                  <a:pt x="1395152" y="1594"/>
                </a:cubicBezTo>
                <a:cubicBezTo>
                  <a:pt x="1389303" y="1594"/>
                  <a:pt x="1383453" y="3057"/>
                  <a:pt x="1371754" y="5982"/>
                </a:cubicBezTo>
                <a:cubicBezTo>
                  <a:pt x="1360054" y="8906"/>
                  <a:pt x="1342505" y="14756"/>
                  <a:pt x="1324956" y="20606"/>
                </a:cubicBezTo>
                <a:cubicBezTo>
                  <a:pt x="1316182" y="14756"/>
                  <a:pt x="1305944" y="8906"/>
                  <a:pt x="1298632" y="5982"/>
                </a:cubicBezTo>
                <a:cubicBezTo>
                  <a:pt x="1291320" y="3057"/>
                  <a:pt x="1286933" y="1594"/>
                  <a:pt x="1282546" y="1594"/>
                </a:cubicBezTo>
                <a:cubicBezTo>
                  <a:pt x="1264997" y="-1331"/>
                  <a:pt x="1248910" y="132"/>
                  <a:pt x="1228436" y="7444"/>
                </a:cubicBezTo>
                <a:cubicBezTo>
                  <a:pt x="1212349" y="11831"/>
                  <a:pt x="1194800" y="19143"/>
                  <a:pt x="1172864" y="30843"/>
                </a:cubicBezTo>
                <a:cubicBezTo>
                  <a:pt x="1150928" y="42542"/>
                  <a:pt x="1126066" y="58629"/>
                  <a:pt x="1099743" y="77640"/>
                </a:cubicBezTo>
                <a:cubicBezTo>
                  <a:pt x="1073419" y="96652"/>
                  <a:pt x="1047095" y="120051"/>
                  <a:pt x="1023697" y="143449"/>
                </a:cubicBezTo>
                <a:cubicBezTo>
                  <a:pt x="998835" y="168311"/>
                  <a:pt x="976899" y="193172"/>
                  <a:pt x="957888" y="218033"/>
                </a:cubicBezTo>
                <a:cubicBezTo>
                  <a:pt x="938876" y="242894"/>
                  <a:pt x="922789" y="266293"/>
                  <a:pt x="911090" y="288229"/>
                </a:cubicBezTo>
                <a:cubicBezTo>
                  <a:pt x="897928" y="310166"/>
                  <a:pt x="887691" y="330639"/>
                  <a:pt x="880379" y="351113"/>
                </a:cubicBezTo>
                <a:cubicBezTo>
                  <a:pt x="873067" y="370125"/>
                  <a:pt x="867217" y="389136"/>
                  <a:pt x="862830" y="405223"/>
                </a:cubicBezTo>
                <a:cubicBezTo>
                  <a:pt x="858443" y="422772"/>
                  <a:pt x="855518" y="437396"/>
                  <a:pt x="855518" y="450558"/>
                </a:cubicBezTo>
                <a:cubicBezTo>
                  <a:pt x="854056" y="463720"/>
                  <a:pt x="854056" y="472495"/>
                  <a:pt x="855518" y="482731"/>
                </a:cubicBezTo>
                <a:cubicBezTo>
                  <a:pt x="856980" y="491506"/>
                  <a:pt x="858443" y="500281"/>
                  <a:pt x="862830" y="509055"/>
                </a:cubicBezTo>
                <a:cubicBezTo>
                  <a:pt x="865755" y="517830"/>
                  <a:pt x="871605" y="525142"/>
                  <a:pt x="875992" y="532454"/>
                </a:cubicBezTo>
                <a:cubicBezTo>
                  <a:pt x="881842" y="539766"/>
                  <a:pt x="889154" y="545616"/>
                  <a:pt x="896466" y="551465"/>
                </a:cubicBezTo>
                <a:cubicBezTo>
                  <a:pt x="903778" y="555853"/>
                  <a:pt x="912552" y="560240"/>
                  <a:pt x="921327" y="563165"/>
                </a:cubicBezTo>
                <a:cubicBezTo>
                  <a:pt x="940338" y="569014"/>
                  <a:pt x="957888" y="569014"/>
                  <a:pt x="979824" y="563165"/>
                </a:cubicBezTo>
                <a:cubicBezTo>
                  <a:pt x="990061" y="560240"/>
                  <a:pt x="1003223" y="554390"/>
                  <a:pt x="1016385" y="547078"/>
                </a:cubicBezTo>
                <a:cubicBezTo>
                  <a:pt x="1044171" y="532454"/>
                  <a:pt x="1074882" y="507593"/>
                  <a:pt x="1098280" y="479807"/>
                </a:cubicBezTo>
                <a:cubicBezTo>
                  <a:pt x="1123142" y="452021"/>
                  <a:pt x="1140691" y="424235"/>
                  <a:pt x="1150928" y="397911"/>
                </a:cubicBezTo>
                <a:cubicBezTo>
                  <a:pt x="1152390" y="387674"/>
                  <a:pt x="1156777" y="374512"/>
                  <a:pt x="1159702" y="362813"/>
                </a:cubicBezTo>
                <a:close/>
                <a:moveTo>
                  <a:pt x="1301557" y="49854"/>
                </a:moveTo>
                <a:cubicBezTo>
                  <a:pt x="1300095" y="60091"/>
                  <a:pt x="1298632" y="70328"/>
                  <a:pt x="1295708" y="82028"/>
                </a:cubicBezTo>
                <a:cubicBezTo>
                  <a:pt x="1292783" y="93727"/>
                  <a:pt x="1288395" y="108351"/>
                  <a:pt x="1282546" y="120051"/>
                </a:cubicBezTo>
                <a:cubicBezTo>
                  <a:pt x="1276696" y="133212"/>
                  <a:pt x="1270846" y="144912"/>
                  <a:pt x="1266459" y="155149"/>
                </a:cubicBezTo>
                <a:cubicBezTo>
                  <a:pt x="1260609" y="165386"/>
                  <a:pt x="1256222" y="172698"/>
                  <a:pt x="1250372" y="180010"/>
                </a:cubicBezTo>
                <a:cubicBezTo>
                  <a:pt x="1237211" y="196097"/>
                  <a:pt x="1226974" y="204871"/>
                  <a:pt x="1215274" y="210721"/>
                </a:cubicBezTo>
                <a:cubicBezTo>
                  <a:pt x="1203575" y="215108"/>
                  <a:pt x="1193338" y="216570"/>
                  <a:pt x="1183101" y="210721"/>
                </a:cubicBezTo>
                <a:cubicBezTo>
                  <a:pt x="1180176" y="209258"/>
                  <a:pt x="1177251" y="204871"/>
                  <a:pt x="1177251" y="201946"/>
                </a:cubicBezTo>
                <a:cubicBezTo>
                  <a:pt x="1175789" y="190247"/>
                  <a:pt x="1178714" y="180010"/>
                  <a:pt x="1183101" y="168311"/>
                </a:cubicBezTo>
                <a:cubicBezTo>
                  <a:pt x="1184563" y="162461"/>
                  <a:pt x="1187488" y="158074"/>
                  <a:pt x="1191875" y="150761"/>
                </a:cubicBezTo>
                <a:cubicBezTo>
                  <a:pt x="1194800" y="144912"/>
                  <a:pt x="1200650" y="137600"/>
                  <a:pt x="1206500" y="130288"/>
                </a:cubicBezTo>
                <a:cubicBezTo>
                  <a:pt x="1212349" y="122975"/>
                  <a:pt x="1219662" y="114201"/>
                  <a:pt x="1229898" y="105426"/>
                </a:cubicBezTo>
                <a:cubicBezTo>
                  <a:pt x="1240135" y="96652"/>
                  <a:pt x="1251835" y="86415"/>
                  <a:pt x="1263534" y="76178"/>
                </a:cubicBezTo>
                <a:cubicBezTo>
                  <a:pt x="1275234" y="65941"/>
                  <a:pt x="1288395" y="57166"/>
                  <a:pt x="1301557" y="49854"/>
                </a:cubicBezTo>
                <a:close/>
                <a:moveTo>
                  <a:pt x="786784" y="335027"/>
                </a:moveTo>
                <a:cubicBezTo>
                  <a:pt x="776547" y="346726"/>
                  <a:pt x="772160" y="351113"/>
                  <a:pt x="769235" y="354038"/>
                </a:cubicBezTo>
                <a:cubicBezTo>
                  <a:pt x="766310" y="356963"/>
                  <a:pt x="763385" y="358426"/>
                  <a:pt x="761923" y="359888"/>
                </a:cubicBezTo>
                <a:cubicBezTo>
                  <a:pt x="757536" y="362813"/>
                  <a:pt x="753148" y="364275"/>
                  <a:pt x="750223" y="362813"/>
                </a:cubicBezTo>
                <a:cubicBezTo>
                  <a:pt x="747299" y="362813"/>
                  <a:pt x="744374" y="359888"/>
                  <a:pt x="744374" y="356963"/>
                </a:cubicBezTo>
                <a:cubicBezTo>
                  <a:pt x="744374" y="355501"/>
                  <a:pt x="744374" y="355501"/>
                  <a:pt x="745836" y="349651"/>
                </a:cubicBezTo>
                <a:cubicBezTo>
                  <a:pt x="747299" y="346726"/>
                  <a:pt x="748761" y="342339"/>
                  <a:pt x="754611" y="332102"/>
                </a:cubicBezTo>
                <a:cubicBezTo>
                  <a:pt x="760460" y="320403"/>
                  <a:pt x="769235" y="304316"/>
                  <a:pt x="778009" y="286767"/>
                </a:cubicBezTo>
                <a:lnTo>
                  <a:pt x="859905" y="147837"/>
                </a:lnTo>
                <a:lnTo>
                  <a:pt x="808720" y="147837"/>
                </a:lnTo>
                <a:lnTo>
                  <a:pt x="798483" y="159536"/>
                </a:lnTo>
                <a:cubicBezTo>
                  <a:pt x="791171" y="155149"/>
                  <a:pt x="783859" y="152224"/>
                  <a:pt x="779472" y="149299"/>
                </a:cubicBezTo>
                <a:cubicBezTo>
                  <a:pt x="775085" y="146374"/>
                  <a:pt x="770697" y="146374"/>
                  <a:pt x="767773" y="146374"/>
                </a:cubicBezTo>
                <a:cubicBezTo>
                  <a:pt x="764848" y="146374"/>
                  <a:pt x="760460" y="144912"/>
                  <a:pt x="757536" y="144912"/>
                </a:cubicBezTo>
                <a:cubicBezTo>
                  <a:pt x="745836" y="144912"/>
                  <a:pt x="732674" y="147837"/>
                  <a:pt x="718050" y="156611"/>
                </a:cubicBezTo>
                <a:cubicBezTo>
                  <a:pt x="712200" y="159536"/>
                  <a:pt x="706351" y="163923"/>
                  <a:pt x="697576" y="171235"/>
                </a:cubicBezTo>
                <a:cubicBezTo>
                  <a:pt x="690264" y="177085"/>
                  <a:pt x="680027" y="185860"/>
                  <a:pt x="661016" y="206334"/>
                </a:cubicBezTo>
                <a:cubicBezTo>
                  <a:pt x="643467" y="226807"/>
                  <a:pt x="615680" y="258981"/>
                  <a:pt x="593744" y="285304"/>
                </a:cubicBezTo>
                <a:cubicBezTo>
                  <a:pt x="571808" y="311628"/>
                  <a:pt x="554259" y="332102"/>
                  <a:pt x="541097" y="345264"/>
                </a:cubicBezTo>
                <a:cubicBezTo>
                  <a:pt x="527935" y="358426"/>
                  <a:pt x="520623" y="364275"/>
                  <a:pt x="514773" y="368662"/>
                </a:cubicBezTo>
                <a:cubicBezTo>
                  <a:pt x="508924" y="373050"/>
                  <a:pt x="504536" y="375975"/>
                  <a:pt x="500149" y="377437"/>
                </a:cubicBezTo>
                <a:cubicBezTo>
                  <a:pt x="498687" y="381824"/>
                  <a:pt x="494299" y="383287"/>
                  <a:pt x="491374" y="383287"/>
                </a:cubicBezTo>
                <a:cubicBezTo>
                  <a:pt x="482600" y="384749"/>
                  <a:pt x="473825" y="384749"/>
                  <a:pt x="466513" y="380362"/>
                </a:cubicBezTo>
                <a:cubicBezTo>
                  <a:pt x="462126" y="377437"/>
                  <a:pt x="462126" y="374512"/>
                  <a:pt x="460664" y="370125"/>
                </a:cubicBezTo>
                <a:cubicBezTo>
                  <a:pt x="459201" y="359888"/>
                  <a:pt x="460664" y="352576"/>
                  <a:pt x="462126" y="342339"/>
                </a:cubicBezTo>
                <a:cubicBezTo>
                  <a:pt x="463588" y="336489"/>
                  <a:pt x="465051" y="330639"/>
                  <a:pt x="467976" y="323327"/>
                </a:cubicBezTo>
                <a:cubicBezTo>
                  <a:pt x="470900" y="316015"/>
                  <a:pt x="473825" y="307241"/>
                  <a:pt x="479675" y="298466"/>
                </a:cubicBezTo>
                <a:cubicBezTo>
                  <a:pt x="484062" y="288229"/>
                  <a:pt x="491374" y="277992"/>
                  <a:pt x="498687" y="266293"/>
                </a:cubicBezTo>
                <a:cubicBezTo>
                  <a:pt x="514773" y="242894"/>
                  <a:pt x="536710" y="216570"/>
                  <a:pt x="554259" y="200484"/>
                </a:cubicBezTo>
                <a:cubicBezTo>
                  <a:pt x="563033" y="191709"/>
                  <a:pt x="570345" y="185860"/>
                  <a:pt x="576195" y="182935"/>
                </a:cubicBezTo>
                <a:cubicBezTo>
                  <a:pt x="582045" y="178547"/>
                  <a:pt x="584970" y="177085"/>
                  <a:pt x="587894" y="175623"/>
                </a:cubicBezTo>
                <a:cubicBezTo>
                  <a:pt x="590819" y="174160"/>
                  <a:pt x="592282" y="174160"/>
                  <a:pt x="595206" y="174160"/>
                </a:cubicBezTo>
                <a:cubicBezTo>
                  <a:pt x="598131" y="174160"/>
                  <a:pt x="601056" y="174160"/>
                  <a:pt x="602519" y="177085"/>
                </a:cubicBezTo>
                <a:cubicBezTo>
                  <a:pt x="605443" y="180010"/>
                  <a:pt x="605443" y="181472"/>
                  <a:pt x="606906" y="185860"/>
                </a:cubicBezTo>
                <a:cubicBezTo>
                  <a:pt x="606906" y="187322"/>
                  <a:pt x="606906" y="190247"/>
                  <a:pt x="606906" y="193172"/>
                </a:cubicBezTo>
                <a:cubicBezTo>
                  <a:pt x="602519" y="194634"/>
                  <a:pt x="596669" y="194634"/>
                  <a:pt x="593744" y="196097"/>
                </a:cubicBezTo>
                <a:cubicBezTo>
                  <a:pt x="589357" y="197559"/>
                  <a:pt x="586432" y="199021"/>
                  <a:pt x="584970" y="200484"/>
                </a:cubicBezTo>
                <a:cubicBezTo>
                  <a:pt x="582045" y="201946"/>
                  <a:pt x="580582" y="203409"/>
                  <a:pt x="579120" y="204871"/>
                </a:cubicBezTo>
                <a:cubicBezTo>
                  <a:pt x="567420" y="213646"/>
                  <a:pt x="565958" y="225345"/>
                  <a:pt x="565958" y="232657"/>
                </a:cubicBezTo>
                <a:cubicBezTo>
                  <a:pt x="565958" y="235582"/>
                  <a:pt x="568883" y="239969"/>
                  <a:pt x="571808" y="242894"/>
                </a:cubicBezTo>
                <a:cubicBezTo>
                  <a:pt x="580582" y="250206"/>
                  <a:pt x="592282" y="245819"/>
                  <a:pt x="605443" y="231195"/>
                </a:cubicBezTo>
                <a:cubicBezTo>
                  <a:pt x="606906" y="228270"/>
                  <a:pt x="609831" y="225345"/>
                  <a:pt x="611293" y="222420"/>
                </a:cubicBezTo>
                <a:cubicBezTo>
                  <a:pt x="618605" y="212183"/>
                  <a:pt x="621530" y="201946"/>
                  <a:pt x="624455" y="193172"/>
                </a:cubicBezTo>
                <a:cubicBezTo>
                  <a:pt x="627380" y="180010"/>
                  <a:pt x="627380" y="163923"/>
                  <a:pt x="611293" y="150761"/>
                </a:cubicBezTo>
                <a:cubicBezTo>
                  <a:pt x="605443" y="146374"/>
                  <a:pt x="599594" y="144912"/>
                  <a:pt x="592282" y="144912"/>
                </a:cubicBezTo>
                <a:cubicBezTo>
                  <a:pt x="587894" y="144912"/>
                  <a:pt x="583507" y="144912"/>
                  <a:pt x="577657" y="146374"/>
                </a:cubicBezTo>
                <a:cubicBezTo>
                  <a:pt x="571808" y="147837"/>
                  <a:pt x="567420" y="149299"/>
                  <a:pt x="560108" y="152224"/>
                </a:cubicBezTo>
                <a:cubicBezTo>
                  <a:pt x="554259" y="155149"/>
                  <a:pt x="546947" y="158074"/>
                  <a:pt x="533785" y="168311"/>
                </a:cubicBezTo>
                <a:cubicBezTo>
                  <a:pt x="520623" y="178547"/>
                  <a:pt x="501611" y="196097"/>
                  <a:pt x="486987" y="209258"/>
                </a:cubicBezTo>
                <a:cubicBezTo>
                  <a:pt x="472363" y="222420"/>
                  <a:pt x="460664" y="229732"/>
                  <a:pt x="451889" y="235582"/>
                </a:cubicBezTo>
                <a:cubicBezTo>
                  <a:pt x="443114" y="241432"/>
                  <a:pt x="434340" y="245819"/>
                  <a:pt x="427028" y="248744"/>
                </a:cubicBezTo>
                <a:cubicBezTo>
                  <a:pt x="419716" y="251669"/>
                  <a:pt x="412404" y="254594"/>
                  <a:pt x="405091" y="256056"/>
                </a:cubicBezTo>
                <a:cubicBezTo>
                  <a:pt x="409479" y="245819"/>
                  <a:pt x="413866" y="235582"/>
                  <a:pt x="416791" y="226807"/>
                </a:cubicBezTo>
                <a:cubicBezTo>
                  <a:pt x="419716" y="218033"/>
                  <a:pt x="422640" y="210721"/>
                  <a:pt x="424103" y="204871"/>
                </a:cubicBezTo>
                <a:cubicBezTo>
                  <a:pt x="425565" y="199021"/>
                  <a:pt x="425565" y="196097"/>
                  <a:pt x="427028" y="191709"/>
                </a:cubicBezTo>
                <a:cubicBezTo>
                  <a:pt x="427028" y="184397"/>
                  <a:pt x="427028" y="175623"/>
                  <a:pt x="424103" y="169773"/>
                </a:cubicBezTo>
                <a:cubicBezTo>
                  <a:pt x="422640" y="166848"/>
                  <a:pt x="421178" y="163923"/>
                  <a:pt x="419716" y="162461"/>
                </a:cubicBezTo>
                <a:cubicBezTo>
                  <a:pt x="415328" y="156611"/>
                  <a:pt x="412404" y="153686"/>
                  <a:pt x="406554" y="152224"/>
                </a:cubicBezTo>
                <a:cubicBezTo>
                  <a:pt x="394854" y="146374"/>
                  <a:pt x="384617" y="147837"/>
                  <a:pt x="371456" y="150761"/>
                </a:cubicBezTo>
                <a:cubicBezTo>
                  <a:pt x="364144" y="152224"/>
                  <a:pt x="356831" y="155149"/>
                  <a:pt x="349519" y="159536"/>
                </a:cubicBezTo>
                <a:cubicBezTo>
                  <a:pt x="340745" y="163923"/>
                  <a:pt x="331970" y="169773"/>
                  <a:pt x="320271" y="177085"/>
                </a:cubicBezTo>
                <a:cubicBezTo>
                  <a:pt x="310034" y="184397"/>
                  <a:pt x="298334" y="194634"/>
                  <a:pt x="286635" y="204871"/>
                </a:cubicBezTo>
                <a:cubicBezTo>
                  <a:pt x="274936" y="216570"/>
                  <a:pt x="263236" y="228270"/>
                  <a:pt x="252999" y="241432"/>
                </a:cubicBezTo>
                <a:cubicBezTo>
                  <a:pt x="232525" y="267755"/>
                  <a:pt x="216439" y="294079"/>
                  <a:pt x="207664" y="316015"/>
                </a:cubicBezTo>
                <a:cubicBezTo>
                  <a:pt x="203277" y="327715"/>
                  <a:pt x="200352" y="336489"/>
                  <a:pt x="197427" y="346726"/>
                </a:cubicBezTo>
                <a:cubicBezTo>
                  <a:pt x="191578" y="354038"/>
                  <a:pt x="190115" y="362813"/>
                  <a:pt x="190115" y="368662"/>
                </a:cubicBezTo>
                <a:cubicBezTo>
                  <a:pt x="190115" y="375975"/>
                  <a:pt x="190115" y="380362"/>
                  <a:pt x="190115" y="384749"/>
                </a:cubicBezTo>
                <a:cubicBezTo>
                  <a:pt x="190115" y="389136"/>
                  <a:pt x="191578" y="393524"/>
                  <a:pt x="193040" y="396449"/>
                </a:cubicBezTo>
                <a:cubicBezTo>
                  <a:pt x="194502" y="400836"/>
                  <a:pt x="195965" y="403761"/>
                  <a:pt x="197427" y="406686"/>
                </a:cubicBezTo>
                <a:cubicBezTo>
                  <a:pt x="198890" y="409610"/>
                  <a:pt x="201814" y="412535"/>
                  <a:pt x="204739" y="413998"/>
                </a:cubicBezTo>
                <a:cubicBezTo>
                  <a:pt x="207664" y="415460"/>
                  <a:pt x="210589" y="418385"/>
                  <a:pt x="214976" y="418385"/>
                </a:cubicBezTo>
                <a:cubicBezTo>
                  <a:pt x="219364" y="419847"/>
                  <a:pt x="223751" y="419847"/>
                  <a:pt x="228138" y="419847"/>
                </a:cubicBezTo>
                <a:cubicBezTo>
                  <a:pt x="232525" y="419847"/>
                  <a:pt x="238375" y="418385"/>
                  <a:pt x="244225" y="418385"/>
                </a:cubicBezTo>
                <a:cubicBezTo>
                  <a:pt x="250074" y="416922"/>
                  <a:pt x="255924" y="415460"/>
                  <a:pt x="261774" y="412535"/>
                </a:cubicBezTo>
                <a:cubicBezTo>
                  <a:pt x="267624" y="409610"/>
                  <a:pt x="274936" y="405223"/>
                  <a:pt x="282248" y="400836"/>
                </a:cubicBezTo>
                <a:cubicBezTo>
                  <a:pt x="289560" y="394986"/>
                  <a:pt x="298334" y="387674"/>
                  <a:pt x="308571" y="378899"/>
                </a:cubicBezTo>
                <a:cubicBezTo>
                  <a:pt x="318808" y="368662"/>
                  <a:pt x="329045" y="356963"/>
                  <a:pt x="343670" y="337952"/>
                </a:cubicBezTo>
                <a:cubicBezTo>
                  <a:pt x="358294" y="320403"/>
                  <a:pt x="374381" y="295541"/>
                  <a:pt x="390467" y="270680"/>
                </a:cubicBezTo>
                <a:lnTo>
                  <a:pt x="429953" y="261906"/>
                </a:lnTo>
                <a:cubicBezTo>
                  <a:pt x="418253" y="283842"/>
                  <a:pt x="408016" y="304316"/>
                  <a:pt x="400704" y="318940"/>
                </a:cubicBezTo>
                <a:cubicBezTo>
                  <a:pt x="394854" y="333564"/>
                  <a:pt x="391930" y="339414"/>
                  <a:pt x="391930" y="345264"/>
                </a:cubicBezTo>
                <a:cubicBezTo>
                  <a:pt x="387542" y="365738"/>
                  <a:pt x="386080" y="386212"/>
                  <a:pt x="394854" y="402298"/>
                </a:cubicBezTo>
                <a:cubicBezTo>
                  <a:pt x="397779" y="406686"/>
                  <a:pt x="400704" y="411073"/>
                  <a:pt x="405091" y="415460"/>
                </a:cubicBezTo>
                <a:cubicBezTo>
                  <a:pt x="409479" y="418385"/>
                  <a:pt x="415328" y="421310"/>
                  <a:pt x="421178" y="424235"/>
                </a:cubicBezTo>
                <a:cubicBezTo>
                  <a:pt x="427028" y="425697"/>
                  <a:pt x="434340" y="427159"/>
                  <a:pt x="441652" y="427159"/>
                </a:cubicBezTo>
                <a:cubicBezTo>
                  <a:pt x="459201" y="427159"/>
                  <a:pt x="475288" y="422772"/>
                  <a:pt x="497224" y="409610"/>
                </a:cubicBezTo>
                <a:cubicBezTo>
                  <a:pt x="504536" y="405223"/>
                  <a:pt x="513311" y="399373"/>
                  <a:pt x="523548" y="389136"/>
                </a:cubicBezTo>
                <a:cubicBezTo>
                  <a:pt x="535247" y="378899"/>
                  <a:pt x="548409" y="365738"/>
                  <a:pt x="563033" y="349651"/>
                </a:cubicBezTo>
                <a:cubicBezTo>
                  <a:pt x="561571" y="362813"/>
                  <a:pt x="561571" y="375975"/>
                  <a:pt x="561571" y="383287"/>
                </a:cubicBezTo>
                <a:cubicBezTo>
                  <a:pt x="561571" y="392061"/>
                  <a:pt x="561571" y="394986"/>
                  <a:pt x="563033" y="397911"/>
                </a:cubicBezTo>
                <a:cubicBezTo>
                  <a:pt x="563033" y="400836"/>
                  <a:pt x="564496" y="403761"/>
                  <a:pt x="564496" y="405223"/>
                </a:cubicBezTo>
                <a:cubicBezTo>
                  <a:pt x="565958" y="406686"/>
                  <a:pt x="565958" y="408148"/>
                  <a:pt x="567420" y="409610"/>
                </a:cubicBezTo>
                <a:cubicBezTo>
                  <a:pt x="570345" y="415460"/>
                  <a:pt x="574733" y="416922"/>
                  <a:pt x="579120" y="418385"/>
                </a:cubicBezTo>
                <a:cubicBezTo>
                  <a:pt x="593744" y="422772"/>
                  <a:pt x="605443" y="419847"/>
                  <a:pt x="620068" y="413998"/>
                </a:cubicBezTo>
                <a:cubicBezTo>
                  <a:pt x="625917" y="411073"/>
                  <a:pt x="631767" y="408148"/>
                  <a:pt x="639079" y="402298"/>
                </a:cubicBezTo>
                <a:cubicBezTo>
                  <a:pt x="646391" y="396449"/>
                  <a:pt x="656628" y="389136"/>
                  <a:pt x="665403" y="380362"/>
                </a:cubicBezTo>
                <a:cubicBezTo>
                  <a:pt x="665403" y="386212"/>
                  <a:pt x="663940" y="390599"/>
                  <a:pt x="665403" y="394986"/>
                </a:cubicBezTo>
                <a:cubicBezTo>
                  <a:pt x="665403" y="399373"/>
                  <a:pt x="665403" y="400836"/>
                  <a:pt x="666865" y="403761"/>
                </a:cubicBezTo>
                <a:cubicBezTo>
                  <a:pt x="666865" y="406686"/>
                  <a:pt x="668328" y="409610"/>
                  <a:pt x="669790" y="412535"/>
                </a:cubicBezTo>
                <a:cubicBezTo>
                  <a:pt x="674177" y="418385"/>
                  <a:pt x="680027" y="419847"/>
                  <a:pt x="687339" y="421310"/>
                </a:cubicBezTo>
                <a:cubicBezTo>
                  <a:pt x="690264" y="421310"/>
                  <a:pt x="693189" y="421310"/>
                  <a:pt x="697576" y="421310"/>
                </a:cubicBezTo>
                <a:cubicBezTo>
                  <a:pt x="710738" y="421310"/>
                  <a:pt x="725362" y="416922"/>
                  <a:pt x="741449" y="405223"/>
                </a:cubicBezTo>
                <a:cubicBezTo>
                  <a:pt x="750223" y="399373"/>
                  <a:pt x="758998" y="392061"/>
                  <a:pt x="769235" y="381824"/>
                </a:cubicBezTo>
                <a:cubicBezTo>
                  <a:pt x="779472" y="371587"/>
                  <a:pt x="791171" y="358426"/>
                  <a:pt x="802871" y="342339"/>
                </a:cubicBezTo>
                <a:cubicBezTo>
                  <a:pt x="814570" y="326252"/>
                  <a:pt x="826270" y="307241"/>
                  <a:pt x="837969" y="286767"/>
                </a:cubicBezTo>
                <a:lnTo>
                  <a:pt x="827732" y="283842"/>
                </a:lnTo>
                <a:cubicBezTo>
                  <a:pt x="811645" y="305778"/>
                  <a:pt x="797021" y="323327"/>
                  <a:pt x="786784" y="335027"/>
                </a:cubicBezTo>
                <a:close/>
                <a:moveTo>
                  <a:pt x="329045" y="333564"/>
                </a:moveTo>
                <a:cubicBezTo>
                  <a:pt x="318808" y="348189"/>
                  <a:pt x="312959" y="352576"/>
                  <a:pt x="310034" y="355501"/>
                </a:cubicBezTo>
                <a:cubicBezTo>
                  <a:pt x="305647" y="358426"/>
                  <a:pt x="302722" y="361350"/>
                  <a:pt x="301259" y="362813"/>
                </a:cubicBezTo>
                <a:cubicBezTo>
                  <a:pt x="298334" y="364275"/>
                  <a:pt x="296872" y="365738"/>
                  <a:pt x="293947" y="367200"/>
                </a:cubicBezTo>
                <a:cubicBezTo>
                  <a:pt x="283710" y="371587"/>
                  <a:pt x="272011" y="373050"/>
                  <a:pt x="264699" y="361350"/>
                </a:cubicBezTo>
                <a:cubicBezTo>
                  <a:pt x="261774" y="356963"/>
                  <a:pt x="261774" y="352576"/>
                  <a:pt x="261774" y="346726"/>
                </a:cubicBezTo>
                <a:cubicBezTo>
                  <a:pt x="261774" y="343801"/>
                  <a:pt x="263236" y="337952"/>
                  <a:pt x="264699" y="332102"/>
                </a:cubicBezTo>
                <a:cubicBezTo>
                  <a:pt x="266161" y="326252"/>
                  <a:pt x="269086" y="318940"/>
                  <a:pt x="274936" y="308703"/>
                </a:cubicBezTo>
                <a:cubicBezTo>
                  <a:pt x="279323" y="298466"/>
                  <a:pt x="286635" y="286767"/>
                  <a:pt x="295410" y="273605"/>
                </a:cubicBezTo>
                <a:cubicBezTo>
                  <a:pt x="304184" y="260443"/>
                  <a:pt x="315884" y="245819"/>
                  <a:pt x="327583" y="232657"/>
                </a:cubicBezTo>
                <a:cubicBezTo>
                  <a:pt x="331970" y="239969"/>
                  <a:pt x="337820" y="245819"/>
                  <a:pt x="342207" y="251669"/>
                </a:cubicBezTo>
                <a:cubicBezTo>
                  <a:pt x="346594" y="256056"/>
                  <a:pt x="349519" y="258981"/>
                  <a:pt x="355369" y="261906"/>
                </a:cubicBezTo>
                <a:cubicBezTo>
                  <a:pt x="359756" y="264830"/>
                  <a:pt x="367068" y="267755"/>
                  <a:pt x="374381" y="270680"/>
                </a:cubicBezTo>
                <a:cubicBezTo>
                  <a:pt x="356831" y="294079"/>
                  <a:pt x="339282" y="318940"/>
                  <a:pt x="329045" y="333564"/>
                </a:cubicBezTo>
                <a:close/>
                <a:moveTo>
                  <a:pt x="400704" y="204871"/>
                </a:moveTo>
                <a:cubicBezTo>
                  <a:pt x="400704" y="207796"/>
                  <a:pt x="399242" y="212183"/>
                  <a:pt x="399242" y="215108"/>
                </a:cubicBezTo>
                <a:cubicBezTo>
                  <a:pt x="397779" y="218033"/>
                  <a:pt x="397779" y="222420"/>
                  <a:pt x="394854" y="228270"/>
                </a:cubicBezTo>
                <a:cubicBezTo>
                  <a:pt x="391930" y="234120"/>
                  <a:pt x="387542" y="242894"/>
                  <a:pt x="383155" y="251669"/>
                </a:cubicBezTo>
                <a:cubicBezTo>
                  <a:pt x="377305" y="250206"/>
                  <a:pt x="371456" y="247281"/>
                  <a:pt x="367068" y="245819"/>
                </a:cubicBezTo>
                <a:cubicBezTo>
                  <a:pt x="362681" y="242894"/>
                  <a:pt x="359756" y="241432"/>
                  <a:pt x="356831" y="239969"/>
                </a:cubicBezTo>
                <a:cubicBezTo>
                  <a:pt x="353907" y="238507"/>
                  <a:pt x="352444" y="237044"/>
                  <a:pt x="350982" y="234120"/>
                </a:cubicBezTo>
                <a:cubicBezTo>
                  <a:pt x="349519" y="232657"/>
                  <a:pt x="348057" y="231195"/>
                  <a:pt x="346594" y="229732"/>
                </a:cubicBezTo>
                <a:cubicBezTo>
                  <a:pt x="339282" y="216570"/>
                  <a:pt x="339282" y="201946"/>
                  <a:pt x="353907" y="188784"/>
                </a:cubicBezTo>
                <a:cubicBezTo>
                  <a:pt x="355369" y="187322"/>
                  <a:pt x="358294" y="184397"/>
                  <a:pt x="361219" y="182935"/>
                </a:cubicBezTo>
                <a:cubicBezTo>
                  <a:pt x="364144" y="181472"/>
                  <a:pt x="367068" y="180010"/>
                  <a:pt x="369993" y="178547"/>
                </a:cubicBezTo>
                <a:cubicBezTo>
                  <a:pt x="378768" y="175623"/>
                  <a:pt x="386080" y="172698"/>
                  <a:pt x="393392" y="178547"/>
                </a:cubicBezTo>
                <a:cubicBezTo>
                  <a:pt x="402167" y="187322"/>
                  <a:pt x="400704" y="196097"/>
                  <a:pt x="400704" y="204871"/>
                </a:cubicBezTo>
                <a:close/>
                <a:moveTo>
                  <a:pt x="696114" y="321865"/>
                </a:moveTo>
                <a:cubicBezTo>
                  <a:pt x="691727" y="329177"/>
                  <a:pt x="685877" y="336489"/>
                  <a:pt x="681490" y="342339"/>
                </a:cubicBezTo>
                <a:cubicBezTo>
                  <a:pt x="677102" y="348189"/>
                  <a:pt x="674177" y="352576"/>
                  <a:pt x="669790" y="355501"/>
                </a:cubicBezTo>
                <a:cubicBezTo>
                  <a:pt x="666865" y="358426"/>
                  <a:pt x="663940" y="361350"/>
                  <a:pt x="661016" y="362813"/>
                </a:cubicBezTo>
                <a:cubicBezTo>
                  <a:pt x="656628" y="365738"/>
                  <a:pt x="653703" y="367200"/>
                  <a:pt x="650779" y="368662"/>
                </a:cubicBezTo>
                <a:cubicBezTo>
                  <a:pt x="646391" y="370125"/>
                  <a:pt x="640542" y="368662"/>
                  <a:pt x="636154" y="364275"/>
                </a:cubicBezTo>
                <a:cubicBezTo>
                  <a:pt x="631767" y="358426"/>
                  <a:pt x="631767" y="355501"/>
                  <a:pt x="631767" y="349651"/>
                </a:cubicBezTo>
                <a:cubicBezTo>
                  <a:pt x="631767" y="346726"/>
                  <a:pt x="633230" y="343801"/>
                  <a:pt x="633230" y="339414"/>
                </a:cubicBezTo>
                <a:cubicBezTo>
                  <a:pt x="634692" y="335027"/>
                  <a:pt x="636154" y="329177"/>
                  <a:pt x="639079" y="323327"/>
                </a:cubicBezTo>
                <a:cubicBezTo>
                  <a:pt x="642004" y="316015"/>
                  <a:pt x="646391" y="308703"/>
                  <a:pt x="652241" y="297004"/>
                </a:cubicBezTo>
                <a:cubicBezTo>
                  <a:pt x="658091" y="286767"/>
                  <a:pt x="666865" y="273605"/>
                  <a:pt x="675640" y="260443"/>
                </a:cubicBezTo>
                <a:cubicBezTo>
                  <a:pt x="685877" y="247281"/>
                  <a:pt x="696114" y="232657"/>
                  <a:pt x="706351" y="222420"/>
                </a:cubicBezTo>
                <a:cubicBezTo>
                  <a:pt x="716588" y="210721"/>
                  <a:pt x="725362" y="201946"/>
                  <a:pt x="732674" y="194634"/>
                </a:cubicBezTo>
                <a:cubicBezTo>
                  <a:pt x="739986" y="187322"/>
                  <a:pt x="745836" y="184397"/>
                  <a:pt x="748761" y="181472"/>
                </a:cubicBezTo>
                <a:cubicBezTo>
                  <a:pt x="753148" y="178547"/>
                  <a:pt x="756073" y="177085"/>
                  <a:pt x="757536" y="177085"/>
                </a:cubicBezTo>
                <a:cubicBezTo>
                  <a:pt x="761923" y="175623"/>
                  <a:pt x="764848" y="175623"/>
                  <a:pt x="769235" y="177085"/>
                </a:cubicBezTo>
                <a:cubicBezTo>
                  <a:pt x="775085" y="181472"/>
                  <a:pt x="772160" y="188784"/>
                  <a:pt x="772160" y="193172"/>
                </a:cubicBezTo>
                <a:cubicBezTo>
                  <a:pt x="772160" y="194634"/>
                  <a:pt x="770697" y="196097"/>
                  <a:pt x="767773" y="200484"/>
                </a:cubicBezTo>
                <a:cubicBezTo>
                  <a:pt x="764848" y="204871"/>
                  <a:pt x="758998" y="213646"/>
                  <a:pt x="754611" y="222420"/>
                </a:cubicBezTo>
                <a:lnTo>
                  <a:pt x="696114" y="321865"/>
                </a:lnTo>
                <a:close/>
                <a:moveTo>
                  <a:pt x="1713961" y="548541"/>
                </a:moveTo>
                <a:lnTo>
                  <a:pt x="1709574" y="530991"/>
                </a:lnTo>
                <a:lnTo>
                  <a:pt x="1702261" y="530991"/>
                </a:lnTo>
                <a:lnTo>
                  <a:pt x="1702261" y="557315"/>
                </a:lnTo>
                <a:lnTo>
                  <a:pt x="1706649" y="557315"/>
                </a:lnTo>
                <a:lnTo>
                  <a:pt x="1706649" y="536841"/>
                </a:lnTo>
                <a:lnTo>
                  <a:pt x="1712498" y="557315"/>
                </a:lnTo>
                <a:lnTo>
                  <a:pt x="1718348" y="557315"/>
                </a:lnTo>
                <a:lnTo>
                  <a:pt x="1724198" y="536841"/>
                </a:lnTo>
                <a:lnTo>
                  <a:pt x="1724198" y="557315"/>
                </a:lnTo>
                <a:lnTo>
                  <a:pt x="1728585" y="557315"/>
                </a:lnTo>
                <a:lnTo>
                  <a:pt x="1728585" y="530991"/>
                </a:lnTo>
                <a:lnTo>
                  <a:pt x="1721273" y="530991"/>
                </a:lnTo>
                <a:lnTo>
                  <a:pt x="1713961" y="548541"/>
                </a:lnTo>
                <a:close/>
                <a:moveTo>
                  <a:pt x="1749059" y="548541"/>
                </a:moveTo>
                <a:cubicBezTo>
                  <a:pt x="1747597" y="547078"/>
                  <a:pt x="1747597" y="547078"/>
                  <a:pt x="1746134" y="547078"/>
                </a:cubicBezTo>
                <a:cubicBezTo>
                  <a:pt x="1749059" y="547078"/>
                  <a:pt x="1750521" y="545616"/>
                  <a:pt x="1751984" y="544153"/>
                </a:cubicBezTo>
                <a:cubicBezTo>
                  <a:pt x="1753446" y="542691"/>
                  <a:pt x="1753446" y="541228"/>
                  <a:pt x="1753446" y="539766"/>
                </a:cubicBezTo>
                <a:cubicBezTo>
                  <a:pt x="1753446" y="538304"/>
                  <a:pt x="1753446" y="536841"/>
                  <a:pt x="1751984" y="535379"/>
                </a:cubicBezTo>
                <a:cubicBezTo>
                  <a:pt x="1750521" y="533916"/>
                  <a:pt x="1750521" y="533916"/>
                  <a:pt x="1749059" y="532454"/>
                </a:cubicBezTo>
                <a:cubicBezTo>
                  <a:pt x="1747597" y="532454"/>
                  <a:pt x="1746134" y="532454"/>
                  <a:pt x="1743209" y="532454"/>
                </a:cubicBezTo>
                <a:lnTo>
                  <a:pt x="1731510" y="532454"/>
                </a:lnTo>
                <a:lnTo>
                  <a:pt x="1731510" y="558778"/>
                </a:lnTo>
                <a:lnTo>
                  <a:pt x="1737360" y="558778"/>
                </a:lnTo>
                <a:lnTo>
                  <a:pt x="1737360" y="548541"/>
                </a:lnTo>
                <a:lnTo>
                  <a:pt x="1738822" y="548541"/>
                </a:lnTo>
                <a:cubicBezTo>
                  <a:pt x="1740284" y="548541"/>
                  <a:pt x="1740284" y="548541"/>
                  <a:pt x="1741747" y="548541"/>
                </a:cubicBezTo>
                <a:cubicBezTo>
                  <a:pt x="1741747" y="548541"/>
                  <a:pt x="1743209" y="548541"/>
                  <a:pt x="1743209" y="550003"/>
                </a:cubicBezTo>
                <a:cubicBezTo>
                  <a:pt x="1743209" y="550003"/>
                  <a:pt x="1744672" y="551465"/>
                  <a:pt x="1746134" y="554390"/>
                </a:cubicBezTo>
                <a:lnTo>
                  <a:pt x="1750521" y="560240"/>
                </a:lnTo>
                <a:lnTo>
                  <a:pt x="1756371" y="560240"/>
                </a:lnTo>
                <a:lnTo>
                  <a:pt x="1753446" y="555853"/>
                </a:lnTo>
                <a:cubicBezTo>
                  <a:pt x="1750521" y="550003"/>
                  <a:pt x="1749059" y="548541"/>
                  <a:pt x="1749059" y="548541"/>
                </a:cubicBezTo>
                <a:close/>
                <a:moveTo>
                  <a:pt x="1740284" y="542691"/>
                </a:moveTo>
                <a:lnTo>
                  <a:pt x="1735897" y="542691"/>
                </a:lnTo>
                <a:lnTo>
                  <a:pt x="1735897" y="536841"/>
                </a:lnTo>
                <a:lnTo>
                  <a:pt x="1740284" y="536841"/>
                </a:lnTo>
                <a:cubicBezTo>
                  <a:pt x="1741747" y="536841"/>
                  <a:pt x="1743209" y="536841"/>
                  <a:pt x="1744672" y="536841"/>
                </a:cubicBezTo>
                <a:cubicBezTo>
                  <a:pt x="1746134" y="536841"/>
                  <a:pt x="1746134" y="536841"/>
                  <a:pt x="1746134" y="538304"/>
                </a:cubicBezTo>
                <a:cubicBezTo>
                  <a:pt x="1746134" y="538304"/>
                  <a:pt x="1746134" y="539766"/>
                  <a:pt x="1746134" y="539766"/>
                </a:cubicBezTo>
                <a:cubicBezTo>
                  <a:pt x="1746134" y="541228"/>
                  <a:pt x="1746134" y="541228"/>
                  <a:pt x="1746134" y="541228"/>
                </a:cubicBezTo>
                <a:cubicBezTo>
                  <a:pt x="1746134" y="541228"/>
                  <a:pt x="1744672" y="542691"/>
                  <a:pt x="1744672" y="542691"/>
                </a:cubicBezTo>
                <a:cubicBezTo>
                  <a:pt x="1744672" y="542691"/>
                  <a:pt x="1743209" y="542691"/>
                  <a:pt x="1740284" y="542691"/>
                </a:cubicBezTo>
                <a:close/>
              </a:path>
            </a:pathLst>
          </a:custGeom>
          <a:solidFill>
            <a:srgbClr val="FFFFFF"/>
          </a:solidFill>
          <a:ln w="14590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0381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C30349-525F-4819-BF26-A9C7676A1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983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C30349-525F-4819-BF26-A9C7676A1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17E8B1C-79D6-4B56-A460-C4E8754799C3}"/>
              </a:ext>
            </a:extLst>
          </p:cNvPr>
          <p:cNvSpPr txBox="1"/>
          <p:nvPr userDrawn="1"/>
        </p:nvSpPr>
        <p:spPr>
          <a:xfrm>
            <a:off x="322107" y="352348"/>
            <a:ext cx="40777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5400">
                <a:solidFill>
                  <a:schemeClr val="bg1"/>
                </a:solidFill>
                <a:latin typeface="TCCC-UnityHeadline" panose="020B0805030303020204" pitchFamily="34" charset="0"/>
              </a:rPr>
              <a:t>Thank you</a:t>
            </a:r>
            <a:endParaRPr lang="en-US" sz="5400" dirty="0">
              <a:solidFill>
                <a:schemeClr val="bg1"/>
              </a:solidFill>
              <a:latin typeface="TCCC-UnityHeadline" panose="020B08050303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7BFE11-802C-4309-9738-9BC467A86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26584"/>
          <a:stretch/>
        </p:blipFill>
        <p:spPr>
          <a:xfrm>
            <a:off x="5666749" y="0"/>
            <a:ext cx="5494843" cy="6858000"/>
          </a:xfrm>
          <a:prstGeom prst="parallelogram">
            <a:avLst>
              <a:gd name="adj" fmla="val 32396"/>
            </a:avLst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5CE550-F2C5-4DFD-A336-20F7B1088C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1055" y="5753980"/>
            <a:ext cx="1842655" cy="57034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DAE9097-2257-455E-B2F4-20A5348334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5580" y="5386519"/>
            <a:ext cx="1700779" cy="11202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AB886B7-611A-4629-9963-D81C30397B2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91091" y="2039229"/>
            <a:ext cx="3762375" cy="371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63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C18F-03AA-408C-8F00-E83471205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58727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C18F-03AA-408C-8F00-E834712058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AC281B3-5D7B-4AB3-B99D-FF5F37C65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81C59F-45ED-4239-BC11-732728FBA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AFFC9C-069C-4C5A-83A0-1CB026D3A5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en-US"/>
              <a:t>24 February 2021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C14E5-039F-48D7-A92B-85D6810BC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r>
              <a:rPr lang="en-US"/>
              <a:t>PRIVILEGED AND CONFIDENTIAL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01F333-3DED-4184-A512-309BF6A56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723963F4-44BC-4D29-A1E0-BF9547A73B0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093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7226C7A-3956-4946-BAF9-517E1263E4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3782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7226C7A-3956-4946-BAF9-517E1263E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12192000" cy="6096000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/>
          <a:lstStyle/>
          <a:p>
            <a:pPr rtl="0" eaLnBrk="0" hangingPunct="0">
              <a:defRPr/>
            </a:pPr>
            <a:endParaRPr lang="en-US" sz="1800" dirty="0">
              <a:solidFill>
                <a:srgbClr val="000000"/>
              </a:solidFill>
              <a:ea typeface="ＭＳ Ｐゴシック" pitchFamily="1" charset="-128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964924" y="2348270"/>
            <a:ext cx="8349509" cy="448199"/>
          </a:xfrm>
        </p:spPr>
        <p:txBody>
          <a:bodyPr vert="horz" rIns="0" anchor="b"/>
          <a:lstStyle>
            <a:lvl1pPr rtl="0">
              <a:lnSpc>
                <a:spcPct val="9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Espace réservé du contenu 2"/>
          <p:cNvSpPr>
            <a:spLocks noGrp="1"/>
          </p:cNvSpPr>
          <p:nvPr>
            <p:ph sz="half" idx="1"/>
          </p:nvPr>
        </p:nvSpPr>
        <p:spPr>
          <a:xfrm>
            <a:off x="1965282" y="2805346"/>
            <a:ext cx="8345009" cy="408373"/>
          </a:xfrm>
        </p:spPr>
        <p:txBody>
          <a:bodyPr lIns="0" rIns="0"/>
          <a:lstStyle>
            <a:lvl1pPr marL="0" indent="0" rtl="0">
              <a:buNone/>
              <a:defRPr sz="22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buFont typeface="Courier New" pitchFamily="49" charset="0"/>
              <a:buChar char="o"/>
              <a:defRPr lang="fr-FR" sz="1600" dirty="0">
                <a:solidFill>
                  <a:srgbClr val="2F3B40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Espace réservé du contenu 2"/>
          <p:cNvSpPr>
            <a:spLocks noGrp="1"/>
          </p:cNvSpPr>
          <p:nvPr>
            <p:ph sz="half" idx="10"/>
          </p:nvPr>
        </p:nvSpPr>
        <p:spPr>
          <a:xfrm>
            <a:off x="1965282" y="3232066"/>
            <a:ext cx="8345009" cy="408373"/>
          </a:xfrm>
        </p:spPr>
        <p:txBody>
          <a:bodyPr lIns="0" rIns="0"/>
          <a:lstStyle>
            <a:lvl1pPr marL="0" indent="0" rtl="0">
              <a:buNone/>
              <a:defRPr sz="2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buFont typeface="Courier New" pitchFamily="49" charset="0"/>
              <a:buChar char="o"/>
              <a:defRPr lang="fr-FR" sz="1600" dirty="0">
                <a:solidFill>
                  <a:srgbClr val="2F3B40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952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138ACE-D10A-4728-BBC5-3494903B8F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4389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138ACE-D10A-4728-BBC5-3494903B8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211667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ea typeface="ＭＳ Ｐゴシック" pitchFamily="34" charset="-128"/>
              <a:cs typeface="Calibri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1717" y="251532"/>
            <a:ext cx="10972800" cy="381000"/>
          </a:xfrm>
        </p:spPr>
        <p:txBody>
          <a:bodyPr vert="horz" lIns="0"/>
          <a:lstStyle>
            <a:lvl1pPr rtl="0">
              <a:defRPr sz="2400" b="1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11717" y="1528548"/>
            <a:ext cx="10972800" cy="4572000"/>
          </a:xfrm>
        </p:spPr>
        <p:txBody>
          <a:bodyPr/>
          <a:lstStyle>
            <a:lvl1pPr marL="187321" indent="-187321" rtl="0"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541325" indent="-179384" rtl="0"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893740" indent="-180970" rtl="0">
              <a:buFont typeface="Arial" pitchFamily="34" charset="0"/>
              <a:buChar char="•"/>
              <a:tabLst/>
              <a:defRPr lang="fr-FR" sz="16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>
              <a:defRPr lang="en-US" sz="16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>
              <a:defRPr lang="en-US" sz="16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678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82987A8-F4F6-42FA-91EA-B70919193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0553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82987A8-F4F6-42FA-91EA-B70919193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1717" y="251532"/>
            <a:ext cx="10972800" cy="381000"/>
          </a:xfrm>
        </p:spPr>
        <p:txBody>
          <a:bodyPr vert="horz" lIns="0"/>
          <a:lstStyle>
            <a:lvl1pPr rtl="0">
              <a:defRPr sz="2400" b="1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30201" y="6496051"/>
            <a:ext cx="4809067" cy="158751"/>
          </a:xfrm>
        </p:spPr>
        <p:txBody>
          <a:bodyPr lIns="0" tIns="0" rIns="0" bIns="0"/>
          <a:lstStyle>
            <a:lvl1pPr marL="0" indent="0" rtl="0">
              <a:spcBef>
                <a:spcPts val="0"/>
              </a:spcBef>
              <a:buFontTx/>
              <a:buNone/>
              <a:defRPr sz="1000">
                <a:solidFill>
                  <a:schemeClr val="tx2"/>
                </a:solidFill>
              </a:defRPr>
            </a:lvl1pPr>
            <a:lvl2pPr marL="447663" indent="0">
              <a:buFontTx/>
              <a:buNone/>
              <a:defRPr sz="1000"/>
            </a:lvl2pPr>
            <a:lvl3pPr marL="914377" indent="0">
              <a:buFontTx/>
              <a:buNone/>
              <a:defRPr sz="1000"/>
            </a:lvl3pPr>
            <a:lvl4pPr marL="1371566" indent="0">
              <a:buFontTx/>
              <a:buNone/>
              <a:defRPr sz="1000"/>
            </a:lvl4pPr>
            <a:lvl5pPr marL="1828754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* Add footnote </a:t>
            </a:r>
            <a:r>
              <a:rPr lang="en-US"/>
              <a:t>if required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0201" y="6648451"/>
            <a:ext cx="4809067" cy="158751"/>
          </a:xfrm>
        </p:spPr>
        <p:txBody>
          <a:bodyPr lIns="0" tIns="0" rIns="0" bIns="0"/>
          <a:lstStyle>
            <a:lvl1pPr marL="0" indent="0" rtl="0">
              <a:spcBef>
                <a:spcPts val="0"/>
              </a:spcBef>
              <a:buFontTx/>
              <a:buNone/>
              <a:defRPr sz="1000" baseline="0">
                <a:solidFill>
                  <a:schemeClr val="tx2"/>
                </a:solidFill>
              </a:defRPr>
            </a:lvl1pPr>
            <a:lvl2pPr marL="447663" indent="0">
              <a:buFontTx/>
              <a:buNone/>
              <a:defRPr sz="1000"/>
            </a:lvl2pPr>
            <a:lvl3pPr marL="914377" indent="0">
              <a:buFontTx/>
              <a:buNone/>
              <a:defRPr sz="1000"/>
            </a:lvl3pPr>
            <a:lvl4pPr marL="1371566" indent="0">
              <a:buFontTx/>
              <a:buNone/>
              <a:defRPr sz="1000"/>
            </a:lvl4pPr>
            <a:lvl5pPr marL="1828754" indent="0">
              <a:buFontTx/>
              <a:buNone/>
              <a:defRPr sz="1000"/>
            </a:lvl5pPr>
          </a:lstStyle>
          <a:p>
            <a:pPr lvl="0"/>
            <a:r>
              <a:rPr lang="en-US" dirty="0"/>
              <a:t>Source: to be added </a:t>
            </a:r>
            <a:r>
              <a:rPr lang="en-US"/>
              <a:t>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811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1A53ACA-5056-47DD-9610-D35443C7D7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6224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1A53ACA-5056-47DD-9610-D35443C7D7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11131827" y="1"/>
            <a:ext cx="1060543" cy="4411299"/>
          </a:xfrm>
          <a:custGeom>
            <a:avLst/>
            <a:gdLst/>
            <a:ahLst/>
            <a:cxnLst/>
            <a:rect l="l" t="t" r="r" b="b"/>
            <a:pathLst>
              <a:path w="1748790" h="7274559">
                <a:moveTo>
                  <a:pt x="1748177" y="0"/>
                </a:moveTo>
                <a:lnTo>
                  <a:pt x="0" y="785"/>
                </a:lnTo>
                <a:lnTo>
                  <a:pt x="1748177" y="7274302"/>
                </a:lnTo>
                <a:lnTo>
                  <a:pt x="1748177" y="0"/>
                </a:lnTo>
                <a:close/>
              </a:path>
            </a:pathLst>
          </a:custGeom>
          <a:solidFill>
            <a:srgbClr val="DF2129"/>
          </a:solidFill>
        </p:spPr>
        <p:txBody>
          <a:bodyPr wrap="square" lIns="0" tIns="0" rIns="0" bIns="0" rtlCol="0"/>
          <a:lstStyle/>
          <a:p>
            <a:pPr rtl="0"/>
            <a:endParaRPr lang="en-US" sz="1092" dirty="0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 rtl="0">
              <a:defRPr sz="1728" b="1" i="0">
                <a:solidFill>
                  <a:srgbClr val="360010"/>
                </a:solidFill>
                <a:latin typeface="Gotham"/>
                <a:cs typeface="Gotham"/>
              </a:defRPr>
            </a:lvl1pPr>
          </a:lstStyle>
          <a:p>
            <a:endParaRPr lang="en-US" dirty="0"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2"/>
            <a:ext cx="53035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2"/>
            <a:ext cx="530352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rtl="0">
              <a:defRPr sz="728" b="0" i="0">
                <a:solidFill>
                  <a:schemeClr val="bg1"/>
                </a:solidFill>
                <a:latin typeface="Gotham-Book"/>
                <a:cs typeface="Gotham-Book"/>
              </a:defRPr>
            </a:lvl1pPr>
          </a:lstStyle>
          <a:p>
            <a:pPr marL="7701">
              <a:spcBef>
                <a:spcPts val="79"/>
              </a:spcBef>
            </a:pPr>
            <a:r>
              <a:rPr lang="en-US" spc="109"/>
              <a:t>CLA </a:t>
            </a:r>
            <a:r>
              <a:rPr lang="en-US" spc="9"/>
              <a:t>S </a:t>
            </a:r>
            <a:r>
              <a:rPr lang="en-US" spc="131"/>
              <a:t>SIFIED </a:t>
            </a:r>
            <a:r>
              <a:rPr lang="en-US" spc="3"/>
              <a:t>- </a:t>
            </a:r>
            <a:r>
              <a:rPr lang="en-US" spc="15"/>
              <a:t>C</a:t>
            </a:r>
            <a:r>
              <a:rPr lang="en-US" spc="-107"/>
              <a:t> </a:t>
            </a:r>
            <a:r>
              <a:rPr lang="en-US" spc="143"/>
              <a:t>ONFIDENTIAL</a:t>
            </a:r>
            <a:r>
              <a:rPr lang="en-US" spc="-69"/>
              <a:t> </a:t>
            </a:r>
            <a:endParaRPr lang="en-US" spc="-69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 rtl="0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763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374931B-FF65-4AD6-A9A2-ED808CB568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751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374931B-FF65-4AD6-A9A2-ED808CB56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6128" y="352426"/>
            <a:ext cx="11502972" cy="752474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6128" y="2070100"/>
            <a:ext cx="11502972" cy="3644900"/>
          </a:xfrm>
        </p:spPr>
        <p:txBody>
          <a:bodyPr/>
          <a:lstStyle>
            <a:lvl1pPr marL="0" indent="0" rtl="0">
              <a:buNone/>
              <a:defRPr/>
            </a:lvl1pPr>
            <a:lvl2pPr marL="173038" indent="-161925" rtl="0">
              <a:defRPr/>
            </a:lvl2pPr>
            <a:lvl3pPr marL="403225" indent="-173038" rtl="0">
              <a:defRPr/>
            </a:lvl3pPr>
            <a:lvl4pPr marL="633413" indent="-173038" rtl="0">
              <a:defRPr/>
            </a:lvl4pPr>
            <a:lvl5pPr marL="865188" indent="-173038"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4E3C43-308C-0F47-83D9-E1DC1DC258D9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>
          <a:xfrm>
            <a:off x="346128" y="1114426"/>
            <a:ext cx="11503078" cy="75247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46719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199DD03-C72D-4118-867F-36C5E1E909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3835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199DD03-C72D-4118-867F-36C5E1E909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A515A4C-202E-3AFF-616B-13B6D5C250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34DDBE-11C7-0D80-BC31-7406746FCA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650234-D8D1-5766-313C-00EA65667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DB4B3A7-A994-F44B-B4FE-C0D3A2B25415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684D3-D291-ACBD-5E93-6C8D0DC10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00AD04-E831-E190-1428-7CDA049A0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992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C2305F4-89C2-498E-AFE9-6585961E5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815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C2305F4-89C2-498E-AFE9-6585961E5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876DE1-3015-619A-D2CC-B5FE77F12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430D4B-3574-16AC-55FF-08C681649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0FC70E-2014-5F25-4158-2EB43A4BD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CE63385-D3C0-4447-BF1D-2ADCDCABB5F6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B99269-F249-922F-3AB7-90340D445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19B58-9FBC-F5CA-76C7-646E04D37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5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2847AB7-B77B-47ED-A291-499778A7B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1295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2847AB7-B77B-47ED-A291-499778A7B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6EB05-D9C7-4A39-B991-EF8B4748C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5BC228-BBB4-2A66-2CA3-310F472DEE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C0A038-04E2-CCD8-2142-EBBAECC46A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57A719F-782E-6043-953D-34E1C4FA18C9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7FB63F-C6A5-6370-C718-1FB9596DE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F2EB96-881E-3C09-9B05-F05DA439B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74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AE1670-D034-44C5-A49C-B9F3B8DB9F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530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AE1670-D034-44C5-A49C-B9F3B8DB9F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9BE4792-E638-52B9-303C-D2468687E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6A7B17-7C7D-1F70-123C-417B7EE9E6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25694E-23C2-C1AB-2C44-2BD9E271B0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7F11382-7688-F081-4930-52597EFC7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6171255-19C4-1C4A-8BF2-EA5AEB4B9663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D0B947-2FFE-1BD6-CC61-DA67D16B6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D77BFF-2CA5-D03D-B016-0CEF7C1CF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2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4020EC8-1F1E-4CE8-9A59-391B3B506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533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4020EC8-1F1E-4CE8-9A59-391B3B506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A41836-D525-BE78-6B84-11DDB0A0B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8BA21A-D2A3-C75F-2944-782FB6751F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98CE7B-C752-AF9A-DF43-72D4A97EE1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569B8F-6D1D-08A7-AECA-C0F166897C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C6BD60D-677F-82BD-CEDB-2F75460396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27B4B2-0D7B-E871-2F39-1B5895F54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59F30A-3A4D-FE4E-B08A-21971337C97F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22E183-8E2D-F8C9-B406-A5F762516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E017E3-6B94-7BD1-50AF-CB6C29DCD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992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18A762-E2ED-4C3A-AED0-9423DD1262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8710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18A762-E2ED-4C3A-AED0-9423DD1262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9697A46-FF82-A8F5-8519-8B4B9F7F5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2FB70DE-534E-58F2-6895-13CE29F3D7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D821FD2-BE91-F54C-AD03-3C5A85CAF4ED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4C63A1-99C1-4E51-43CA-58D1950AF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132075-3011-8A9E-B8A9-3BD31B838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B54628F-C05F-48C0-8CCF-DF868A3C5F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639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B54628F-C05F-48C0-8CCF-DF868A3C5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A78B89-4F68-BF4A-578D-5E5666C99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F0D8B3BF-D1D6-E745-A46B-C23EE554E3EB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4461BC-AC83-7BAA-99D2-0C6EFDE23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A15081-5353-7853-AD65-D5468FCE80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935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0993D1-4A74-4436-96B7-7603D0E6A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2778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0993D1-4A74-4436-96B7-7603D0E6A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3F451A-A18E-4905-ACDF-006A8A3DE3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BCA20C-0B6A-0952-1D65-35C2CB77A8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71050E-1A79-D9CA-E853-1FE2B3CFF9B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12E12D-AA95-07A5-BFAA-151CF2505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744F3B8F-DF75-0541-A20C-31661170F074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F090D2-C790-C56F-0A64-43C1956D59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B5A47B-A991-AB03-CB9A-5B6F020620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52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D53A228-585F-432A-8601-4DE894FB4B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3281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D53A228-585F-432A-8601-4DE894FB4B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8EF791-1F21-7519-3159-8ECA82151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6A16BA-147A-9BB7-B7EC-4E264B65D6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995422-2A98-1DF2-A2E9-3B4ED81DBC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05183DD-8348-9E6A-6034-236EB07F8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8B2B199F-74A6-E640-92F8-2B481B618497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FCD582-1A6D-E9DF-B3F8-F4864D6D56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2D819F-6C91-6A9F-2A9B-AEC096F14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12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F765200-0277-43FB-89E3-61D85F66A7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F765200-0277-43FB-89E3-61D85F66A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D3B8CF-E71B-773A-9697-8400948E23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D4AAD2-9D4E-B052-6014-7FE49E26A0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645D8E-6F04-D07C-5BE3-42392B76D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E07FFF0-62F0-0B46-8893-AB64532E1B99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82601D-F8AD-78CE-C048-0017287F1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C1B55B-3CCE-C32F-766E-DB5259F32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19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38D5AFB-76C1-40D5-8FD4-7B29234C24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1307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38D5AFB-76C1-40D5-8FD4-7B29234C24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42900" y="1709738"/>
            <a:ext cx="11487150" cy="1719262"/>
          </a:xfrm>
        </p:spPr>
        <p:txBody>
          <a:bodyPr vert="horz" anchor="b">
            <a:normAutofit/>
          </a:bodyPr>
          <a:lstStyle>
            <a:lvl1pPr rtl="0"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346128" y="3429001"/>
            <a:ext cx="11502972" cy="1719261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C126320C-3010-4E37-87C4-4E64BEC432B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354" y="286439"/>
            <a:ext cx="2785246" cy="62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777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333F736-9240-425E-A3E9-E7C708419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4965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333F736-9240-425E-A3E9-E7C708419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393B54-7E74-DC3E-E438-E4BA5CB0B7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FB0E7F-2C9A-7BC6-F45C-630577EA70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EB4933-BBE9-5929-3420-7ED16FE22D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1AC533A-1F5A-3B42-B697-833AC2363989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2AEB20-4CAB-CC7A-1AA7-0D5E205C5E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BEC5DA-8019-6016-AE47-C54D31B12B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475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6702710"/>
              </p:ext>
            </p:extLst>
          </p:nvPr>
        </p:nvGraphicFramePr>
        <p:xfrm>
          <a:off x="2128" y="160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8" y="1602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853" y="160344"/>
            <a:ext cx="1075478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rtl="0">
              <a:defRPr/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9964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81248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596" y="0"/>
            <a:ext cx="12191405" cy="6857352"/>
          </a:xfrm>
          <a:custGeom>
            <a:avLst/>
            <a:gdLst>
              <a:gd name="connsiteX0" fmla="*/ 0 w 11948530"/>
              <a:gd name="connsiteY0" fmla="*/ 0 h 6720840"/>
              <a:gd name="connsiteX1" fmla="*/ 11948530 w 11948530"/>
              <a:gd name="connsiteY1" fmla="*/ 0 h 6720840"/>
              <a:gd name="connsiteX2" fmla="*/ 11948530 w 11948530"/>
              <a:gd name="connsiteY2" fmla="*/ 6720840 h 6720840"/>
              <a:gd name="connsiteX3" fmla="*/ 0 w 11948530"/>
              <a:gd name="connsiteY3" fmla="*/ 6720840 h 6720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8530" h="6720840">
                <a:moveTo>
                  <a:pt x="0" y="0"/>
                </a:moveTo>
                <a:lnTo>
                  <a:pt x="11948530" y="0"/>
                </a:lnTo>
                <a:lnTo>
                  <a:pt x="11948530" y="6720840"/>
                </a:lnTo>
                <a:lnTo>
                  <a:pt x="0" y="6720840"/>
                </a:lnTo>
                <a:close/>
              </a:path>
            </a:pathLst>
          </a:custGeom>
        </p:spPr>
      </p:pic>
      <p:sp>
        <p:nvSpPr>
          <p:cNvPr id="4" name="Round Diagonal Corner Rectangle 3"/>
          <p:cNvSpPr/>
          <p:nvPr userDrawn="1"/>
        </p:nvSpPr>
        <p:spPr bwMode="ltGray">
          <a:xfrm>
            <a:off x="367148" y="3930496"/>
            <a:ext cx="7180294" cy="2536222"/>
          </a:xfrm>
          <a:prstGeom prst="round2DiagRect">
            <a:avLst/>
          </a:prstGeom>
          <a:solidFill>
            <a:schemeClr val="tx1">
              <a:alpha val="62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US" sz="1631" dirty="0">
              <a:solidFill>
                <a:srgbClr val="000000"/>
              </a:solidFill>
            </a:endParaRPr>
          </a:p>
        </p:txBody>
      </p:sp>
      <p:sp>
        <p:nvSpPr>
          <p:cNvPr id="5" name="Rectangle 1026"/>
          <p:cNvSpPr>
            <a:spLocks noGrp="1" noChangeArrowheads="1"/>
          </p:cNvSpPr>
          <p:nvPr>
            <p:ph type="ctrTitle"/>
          </p:nvPr>
        </p:nvSpPr>
        <p:spPr bwMode="ltGray">
          <a:xfrm>
            <a:off x="599906" y="4947397"/>
            <a:ext cx="6714778" cy="502445"/>
          </a:xfrm>
          <a:prstGeom prst="rect">
            <a:avLst/>
          </a:prstGeom>
        </p:spPr>
        <p:txBody>
          <a:bodyPr vert="horz" wrap="square" anchor="ctr" anchorCtr="0">
            <a:spAutoFit/>
          </a:bodyPr>
          <a:lstStyle>
            <a:lvl1pPr rtl="0">
              <a:defRPr sz="3265" b="1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431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72849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rtl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0465075" y="6639224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 rtl="0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rtl="0" fontAlgn="base">
              <a:spcBef>
                <a:spcPct val="0"/>
              </a:spcBef>
              <a:spcAft>
                <a:spcPct val="0"/>
              </a:spcAft>
            </a:pPr>
            <a:endParaRPr lang="en-US" sz="612" dirty="0">
              <a:solidFill>
                <a:srgbClr val="80808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" y="0"/>
            <a:ext cx="12192000" cy="68579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5337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786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ea typeface="ＭＳ Ｐゴシック" pitchFamily="34" charset="-128"/>
              <a:cs typeface="Calibri"/>
              <a:sym typeface="Calibri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1717" y="251532"/>
            <a:ext cx="10972800" cy="381000"/>
          </a:xfrm>
        </p:spPr>
        <p:txBody>
          <a:bodyPr vert="horz" lIns="0"/>
          <a:lstStyle>
            <a:lvl1pPr rtl="0">
              <a:defRPr sz="2400" b="1"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11717" y="1528548"/>
            <a:ext cx="10972800" cy="738664"/>
          </a:xfrm>
        </p:spPr>
        <p:txBody>
          <a:bodyPr>
            <a:spAutoFit/>
          </a:bodyPr>
          <a:lstStyle>
            <a:lvl1pPr marL="187325" indent="-187325" rtl="0"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1pPr>
            <a:lvl2pPr marL="541338" indent="-179388" rtl="0"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893763" indent="-180975" rtl="0">
              <a:buFont typeface="Arial" pitchFamily="34" charset="0"/>
              <a:buChar char="•"/>
              <a:tabLst/>
              <a:defRPr lang="fr-FR" sz="1600" baseline="0" dirty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>
              <a:defRPr lang="en-US" sz="16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>
              <a:defRPr lang="en-US" sz="1600" dirty="0" smtClean="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88032" y="251532"/>
            <a:ext cx="402471" cy="407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918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F5F5777-2584-4A40-AEC0-49BB2E4E80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613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F5F5777-2584-4A40-AEC0-49BB2E4E8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D18B313-1321-42A9-B075-CDAC0EC4AB57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865B34F6-2ED1-4C9A-BE65-1EF4537E90F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98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61F91E-6A9A-4E67-9F41-68885C5D8C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860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61F91E-6A9A-4E67-9F41-68885C5D8C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125579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125579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550597" y="6356350"/>
            <a:ext cx="436619" cy="395694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fld id="{E4A4D44D-DDF7-4846-85B3-878E36FB57AA}" type="slidenum">
              <a:rPr lang="en-US" smtClean="0">
                <a:solidFill>
                  <a:srgbClr val="3B393E"/>
                </a:solidFill>
              </a:rPr>
              <a:pPr/>
              <a:t>‹#›</a:t>
            </a:fld>
            <a:endParaRPr lang="en-US" dirty="0">
              <a:solidFill>
                <a:srgbClr val="3B393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191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2354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40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75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 with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3C9FBA-FC29-4C9D-8B4D-9037A4BA8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41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3C9FBA-FC29-4C9D-8B4D-9037A4BA8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3"/>
          <p:cNvSpPr>
            <a:spLocks noGrp="1"/>
          </p:cNvSpPr>
          <p:nvPr>
            <p:ph type="body" sz="quarter" idx="10"/>
          </p:nvPr>
        </p:nvSpPr>
        <p:spPr>
          <a:xfrm>
            <a:off x="482600" y="1114425"/>
            <a:ext cx="11252200" cy="4819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39725" indent="-339725" rtl="0">
              <a:lnSpc>
                <a:spcPts val="2400"/>
              </a:lnSpc>
              <a:spcBef>
                <a:spcPts val="2000"/>
              </a:spcBef>
              <a:buFont typeface="+mj-lt"/>
              <a:buAutoNum type="arabicPeriod"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08000" y="6141715"/>
            <a:ext cx="11176000" cy="0"/>
          </a:xfrm>
          <a:prstGeom prst="line">
            <a:avLst/>
          </a:prstGeom>
          <a:ln>
            <a:solidFill>
              <a:srgbClr val="455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95300" y="352425"/>
            <a:ext cx="11176000" cy="287451"/>
          </a:xfrm>
          <a:prstGeom prst="rect">
            <a:avLst/>
          </a:prstGeom>
        </p:spPr>
        <p:txBody>
          <a:bodyPr vert="horz" lIns="0" tIns="0" rIns="0" bIns="0"/>
          <a:lstStyle>
            <a:lvl1pPr rtl="0">
              <a:lnSpc>
                <a:spcPts val="2400"/>
              </a:lnSpc>
              <a:spcBef>
                <a:spcPts val="2000"/>
              </a:spcBef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1" name="Picture 10" descr="header_spencerian-01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490069" y="6236288"/>
            <a:ext cx="1349248" cy="318572"/>
          </a:xfrm>
          <a:prstGeom prst="rect">
            <a:avLst/>
          </a:prstGeom>
        </p:spPr>
      </p:pic>
      <p:sp>
        <p:nvSpPr>
          <p:cNvPr id="12" name="Date Placeholder 11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78FC600-F911-4DD0-944F-A2B2F9AA1065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Page </a:t>
            </a:r>
            <a:fld id="{E55CB928-7360-4C5A-A5AA-7B3F29607B2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Presentation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93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D13610-E63F-4ECC-9700-DDDDF21321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926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D13610-E63F-4ECC-9700-DDDDF2132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38F2A7-F31F-B94F-9E6F-52B3CA06254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6709025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A115859-C9C7-414D-9B2B-2BAD98930584}"/>
              </a:ext>
            </a:extLst>
          </p:cNvPr>
          <p:cNvSpPr>
            <a:spLocks noGrp="1"/>
          </p:cNvSpPr>
          <p:nvPr>
            <p:ph type="pic" sz="quarter" idx="14"/>
            <p:custDataLst>
              <p:tags r:id="rId4"/>
            </p:custDataLst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F7D5221-6BAB-AC41-AD9E-61F7A3F53BF8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346128" y="2070099"/>
            <a:ext cx="5635572" cy="407034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50391A-7A93-A145-9F12-E338CF0354AE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6"/>
            </p:custDataLst>
          </p:nvPr>
        </p:nvSpPr>
        <p:spPr>
          <a:xfrm>
            <a:off x="346128" y="1114426"/>
            <a:ext cx="5635624" cy="75247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E8E72DE-CA81-4147-AF6D-B7A1FC32C91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346128" y="352426"/>
            <a:ext cx="5635572" cy="752474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5FE07A-85B4-3E45-AF04-1566E4EC7E2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46075" y="6498177"/>
            <a:ext cx="5635625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he Coca-Cola Company</a:t>
            </a:r>
          </a:p>
        </p:txBody>
      </p:sp>
    </p:spTree>
    <p:extLst>
      <p:ext uri="{BB962C8B-B14F-4D97-AF65-F5344CB8AC3E}">
        <p14:creationId xmlns:p14="http://schemas.microsoft.com/office/powerpoint/2010/main" val="369902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ogram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711EA11-4769-47FE-B8FD-EEEFEF2CE1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403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711EA11-4769-47FE-B8FD-EEEFEF2CE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28"/>
          <p:cNvSpPr txBox="1"/>
          <p:nvPr userDrawn="1"/>
        </p:nvSpPr>
        <p:spPr>
          <a:xfrm>
            <a:off x="215900" y="6475228"/>
            <a:ext cx="35373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800" dirty="0"/>
              <a:t>©2017 The Coca-Cola Company │</a:t>
            </a:r>
            <a:r>
              <a:rPr lang="en-US" sz="800" dirty="0">
                <a:solidFill>
                  <a:srgbClr val="FF0000"/>
                </a:solidFill>
              </a:rPr>
              <a:t>Confidential</a:t>
            </a:r>
            <a:endParaRPr lang="en-US" sz="800" dirty="0"/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284659" y="6437415"/>
            <a:ext cx="11707532" cy="0"/>
          </a:xfrm>
          <a:prstGeom prst="line">
            <a:avLst/>
          </a:prstGeom>
          <a:ln w="6350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>
          <a:xfrm>
            <a:off x="1829302" y="657987"/>
            <a:ext cx="10162889" cy="0"/>
          </a:xfrm>
          <a:prstGeom prst="line">
            <a:avLst/>
          </a:prstGeom>
          <a:ln w="254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10029261" y="397721"/>
            <a:ext cx="1807626" cy="22551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rtl="0">
              <a:lnSpc>
                <a:spcPct val="120000"/>
              </a:lnSpc>
              <a:spcBef>
                <a:spcPts val="600"/>
              </a:spcBef>
              <a:buNone/>
              <a:defRPr sz="1100">
                <a:solidFill>
                  <a:srgbClr val="E41E2B"/>
                </a:solidFill>
                <a:latin typeface="+mj-lt"/>
                <a:cs typeface="Helvetica Neue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Executive Overview</a:t>
            </a:r>
          </a:p>
        </p:txBody>
      </p:sp>
      <p:cxnSp>
        <p:nvCxnSpPr>
          <p:cNvPr id="41" name="Straight Connector 40"/>
          <p:cNvCxnSpPr/>
          <p:nvPr userDrawn="1"/>
        </p:nvCxnSpPr>
        <p:spPr>
          <a:xfrm flipV="1">
            <a:off x="9999574" y="270050"/>
            <a:ext cx="0" cy="357634"/>
          </a:xfrm>
          <a:prstGeom prst="line">
            <a:avLst/>
          </a:prstGeom>
          <a:ln w="6350">
            <a:solidFill>
              <a:schemeClr val="tx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5284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bg>
      <p:bgPr>
        <a:solidFill>
          <a:srgbClr val="E41E2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6D80D0-0810-471F-90E8-FCECEBC624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93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6D80D0-0810-471F-90E8-FCECEBC62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917E8B1C-79D6-4B56-A460-C4E8754799C3}"/>
              </a:ext>
            </a:extLst>
          </p:cNvPr>
          <p:cNvSpPr txBox="1"/>
          <p:nvPr userDrawn="1"/>
        </p:nvSpPr>
        <p:spPr>
          <a:xfrm>
            <a:off x="322107" y="352348"/>
            <a:ext cx="40777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sz="5400">
                <a:solidFill>
                  <a:schemeClr val="bg1"/>
                </a:solidFill>
                <a:latin typeface="TCCC-UnityHeadline" panose="020B0805030303020204" pitchFamily="34" charset="0"/>
              </a:rPr>
              <a:t>Thank you</a:t>
            </a:r>
            <a:endParaRPr lang="en-US" sz="5400" dirty="0">
              <a:solidFill>
                <a:schemeClr val="bg1"/>
              </a:solidFill>
              <a:latin typeface="TCCC-UnityHeadline" panose="020B0805030303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57BFE11-802C-4309-9738-9BC467A86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0" r="26584"/>
          <a:stretch/>
        </p:blipFill>
        <p:spPr>
          <a:xfrm>
            <a:off x="5666749" y="0"/>
            <a:ext cx="5494843" cy="6858000"/>
          </a:xfrm>
          <a:prstGeom prst="parallelogram">
            <a:avLst>
              <a:gd name="adj" fmla="val 32396"/>
            </a:avLst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55CE550-F2C5-4DFD-A336-20F7B1088C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1055" y="5753980"/>
            <a:ext cx="1842655" cy="57034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0DAE9097-2257-455E-B2F4-20A5348334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25580" y="5386519"/>
            <a:ext cx="1700779" cy="11202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AB886B7-611A-4629-9963-D81C30397B2B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91091" y="2039229"/>
            <a:ext cx="3762375" cy="371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68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6"/>
          <p:cNvSpPr txBox="1"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6"/>
          <p:cNvSpPr txBox="1">
            <a:spLocks noGrp="1"/>
          </p:cNvSpPr>
          <p:nvPr>
            <p:ph type="body" idx="1"/>
          </p:nvPr>
        </p:nvSpPr>
        <p:spPr>
          <a:xfrm>
            <a:off x="831851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2000">
                <a:solidFill>
                  <a:srgbClr val="888888"/>
                </a:solidFill>
              </a:defRPr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71" name="Google Shape;71;p1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6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826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7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1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7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32325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8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18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84" name="Google Shape;84;p18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18"/>
          <p:cNvSpPr txBox="1">
            <a:spLocks noGrp="1"/>
          </p:cNvSpPr>
          <p:nvPr>
            <p:ph type="body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 b="1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86" name="Google Shape;86;p18"/>
          <p:cNvSpPr txBox="1">
            <a:spLocks noGrp="1"/>
          </p:cNvSpPr>
          <p:nvPr>
            <p:ph type="body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7" name="Google Shape;87;p18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18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3575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1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4" name="Google Shape;94;p1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0042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21"/>
          <p:cNvSpPr txBox="1">
            <a:spLocks noGrp="1"/>
          </p:cNvSpPr>
          <p:nvPr>
            <p:ph type="body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507987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82588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 sz="2800"/>
            </a:lvl2pPr>
            <a:lvl3pPr marL="1828754" lvl="2" indent="-4571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4pPr>
            <a:lvl5pPr marL="3047924" lvl="4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5pPr>
            <a:lvl6pPr marL="3657509" lvl="5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6pPr>
            <a:lvl7pPr marL="4267093" lvl="6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7pPr>
            <a:lvl8pPr marL="4876678" lvl="7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8pPr>
            <a:lvl9pPr marL="5486263" lvl="8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2" name="Google Shape;102;p21"/>
          <p:cNvSpPr txBox="1">
            <a:spLocks noGrp="1"/>
          </p:cNvSpPr>
          <p:nvPr>
            <p:ph type="body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103" name="Google Shape;103;p2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2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237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2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08" name="Google Shape;108;p22"/>
          <p:cNvSpPr>
            <a:spLocks noGrp="1"/>
          </p:cNvSpPr>
          <p:nvPr>
            <p:ph type="pic" idx="2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109" name="Google Shape;109;p22"/>
          <p:cNvSpPr txBox="1">
            <a:spLocks noGrp="1"/>
          </p:cNvSpPr>
          <p:nvPr>
            <p:ph type="body" idx="1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1pPr>
            <a:lvl2pPr marL="1219170" lvl="1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467"/>
            </a:lvl2pPr>
            <a:lvl3pPr marL="1828754" lvl="2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3pPr>
            <a:lvl4pPr marL="2438339" lvl="3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4pPr>
            <a:lvl5pPr marL="3047924" lvl="4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5pPr>
            <a:lvl6pPr marL="3657509" lvl="5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6pPr>
            <a:lvl7pPr marL="4267093" lvl="6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7pPr>
            <a:lvl8pPr marL="4876678" lvl="7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8pPr>
            <a:lvl9pPr marL="5486263" lvl="8" indent="-30479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800"/>
              <a:buNone/>
              <a:defRPr sz="1067"/>
            </a:lvl9pPr>
          </a:lstStyle>
          <a:p>
            <a:endParaRPr/>
          </a:p>
        </p:txBody>
      </p:sp>
      <p:sp>
        <p:nvSpPr>
          <p:cNvPr id="110" name="Google Shape;110;p2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1" name="Google Shape;111;p2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2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5182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23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5"/>
            <a:ext cx="4351339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2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7" name="Google Shape;117;p2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2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2908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24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9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24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9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23323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2pPr>
            <a:lvl3pPr marL="1828754" lvl="2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2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2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24" name="Google Shape;124;p2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402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F4568-AA79-4E52-A0DF-84FD413CCE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72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20F4568-AA79-4E52-A0DF-84FD413CCE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2C376D8-06CF-B049-9BB5-F47F043BDB72}"/>
              </a:ext>
            </a:extLst>
          </p:cNvPr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46128" y="2070100"/>
            <a:ext cx="5635572" cy="406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3AC2ABC-B0E7-C14B-906A-3431A0588B4D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346128" y="1114426"/>
            <a:ext cx="5635624" cy="75247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208E110-EE34-6D48-8D13-8DFA7264E6F9}"/>
              </a:ext>
            </a:extLst>
          </p:cNvPr>
          <p:cNvSpPr>
            <a:spLocks noGrp="1"/>
          </p:cNvSpPr>
          <p:nvPr>
            <p:ph idx="14"/>
            <p:custDataLst>
              <p:tags r:id="rId5"/>
            </p:custDataLst>
          </p:nvPr>
        </p:nvSpPr>
        <p:spPr>
          <a:xfrm>
            <a:off x="6226068" y="2070100"/>
            <a:ext cx="5635572" cy="36449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EB41E19-0E66-1A49-B0E5-2B8A1BE1671A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226068" y="1114426"/>
            <a:ext cx="5635624" cy="752474"/>
          </a:xfrm>
        </p:spPr>
        <p:txBody>
          <a:bodyPr>
            <a:normAutofit/>
          </a:bodyPr>
          <a:lstStyle>
            <a:lvl1pPr marL="0" indent="0" rtl="0">
              <a:buFontTx/>
              <a:buNone/>
              <a:defRPr sz="1800"/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ED4E46-84B2-1C4B-9747-0D6C22B1059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346128" y="352426"/>
            <a:ext cx="5635572" cy="752474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55FE07A-85B4-3E45-AF04-1566E4EC7E2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46075" y="6498177"/>
            <a:ext cx="5635625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he Coca-Cola Company</a:t>
            </a:r>
          </a:p>
        </p:txBody>
      </p:sp>
    </p:spTree>
    <p:extLst>
      <p:ext uri="{BB962C8B-B14F-4D97-AF65-F5344CB8AC3E}">
        <p14:creationId xmlns:p14="http://schemas.microsoft.com/office/powerpoint/2010/main" val="98764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876DE1-3015-619A-D2CC-B5FE77F12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430D4B-3574-16AC-55FF-08C681649C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0FC70E-2014-5F25-4158-2EB43A4BDC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63385-D3C0-4447-BF1D-2ADCDCABB5F6}" type="datetime1">
              <a:rPr lang="en-PH" smtClean="0"/>
              <a:t>11/0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B99269-F249-922F-3AB7-90340D445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ssified -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19B58-9FBC-F5CA-76C7-646E04D37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1A7703-5F56-AC4F-9A09-DFA641F40C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46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11502972" cy="2306637"/>
          </a:xfrm>
        </p:spPr>
        <p:txBody>
          <a:bodyPr anchor="b">
            <a:normAutofit/>
          </a:bodyPr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11502972" cy="1828800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6128" y="61404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B8CAC4E0-BAED-4092-87B9-BA9EC3CCF1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28" y="239715"/>
            <a:ext cx="2920253" cy="80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729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2813-90A4-B841-8DAA-4B00E2E34CD3}" type="datetimeFigureOut">
              <a:rPr lang="en-US" smtClean="0"/>
              <a:t>1/11/2023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6FCF88-57DB-F246-8D24-D73392F71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9" y="352425"/>
            <a:ext cx="11502972" cy="752475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45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5635572" cy="2306637"/>
          </a:xfrm>
        </p:spPr>
        <p:txBody>
          <a:bodyPr anchor="b"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5635572" cy="1828800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46128" y="61404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A6A32AA-88BF-9946-B673-EEC5F9F0FAD2}"/>
              </a:ext>
            </a:extLst>
          </p:cNvPr>
          <p:cNvSpPr/>
          <p:nvPr userDrawn="1"/>
        </p:nvSpPr>
        <p:spPr>
          <a:xfrm>
            <a:off x="0" y="6709026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57B599A-4936-2C4F-A75A-845A1C3537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7FB777F0-5440-4EFB-B933-B52970988A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29" y="544123"/>
            <a:ext cx="2110201" cy="578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015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129" y="1122364"/>
            <a:ext cx="11502972" cy="2306637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129" y="3429000"/>
            <a:ext cx="11502972" cy="1828800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140450"/>
            <a:ext cx="2743200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F3B32FFB-F1F4-0A4A-9820-8A7C79CE86F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67351" y="352427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64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129" y="352425"/>
            <a:ext cx="11502972" cy="752475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129" y="2070101"/>
            <a:ext cx="11502972" cy="3644900"/>
          </a:xfrm>
        </p:spPr>
        <p:txBody>
          <a:bodyPr/>
          <a:lstStyle>
            <a:lvl1pPr marL="0" indent="0">
              <a:buNone/>
              <a:defRPr/>
            </a:lvl1pPr>
            <a:lvl2pPr marL="173034" indent="-161921">
              <a:tabLst/>
              <a:defRPr/>
            </a:lvl2pPr>
            <a:lvl3pPr marL="403215" indent="-173034">
              <a:tabLst/>
              <a:defRPr/>
            </a:lvl3pPr>
            <a:lvl4pPr marL="633397" indent="-173034">
              <a:tabLst/>
              <a:defRPr/>
            </a:lvl4pPr>
            <a:lvl5pPr marL="865166" indent="-173034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A4E3C43-308C-0F47-83D9-E1DC1DC258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9" y="1114425"/>
            <a:ext cx="11503079" cy="7524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117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1" y="1709738"/>
            <a:ext cx="11487151" cy="1719263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129" y="3429002"/>
            <a:ext cx="11502972" cy="1719261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CA0D1638-E465-4847-88FD-FBE4F1ED3C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6129" y="352427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81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38F2A7-F31F-B94F-9E6F-52B3CA06254F}"/>
              </a:ext>
            </a:extLst>
          </p:cNvPr>
          <p:cNvSpPr/>
          <p:nvPr userDrawn="1"/>
        </p:nvSpPr>
        <p:spPr>
          <a:xfrm>
            <a:off x="0" y="6709026"/>
            <a:ext cx="12192000" cy="148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A115859-C9C7-414D-9B2B-2BAD9893058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F7D5221-6BAB-AC41-AD9E-61F7A3F53B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129" y="2070101"/>
            <a:ext cx="5635572" cy="3644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F950391A-7A93-A145-9F12-E338CF0354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8" y="1114425"/>
            <a:ext cx="5635624" cy="7524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E8E72DE-CA81-4147-AF6D-B7A1FC32C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9" y="352425"/>
            <a:ext cx="5635572" cy="752475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358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2C376D8-06CF-B049-9BB5-F47F043BD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6129" y="2070101"/>
            <a:ext cx="5635572" cy="3644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63AC2ABC-B0E7-C14B-906A-3431A0588B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6128" y="1114425"/>
            <a:ext cx="5635624" cy="7524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208E110-EE34-6D48-8D13-8DFA7264E6F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069" y="2070101"/>
            <a:ext cx="5635572" cy="3644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2EB41E19-0E66-1A49-B0E5-2B8A1BE167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26068" y="1114425"/>
            <a:ext cx="5635624" cy="75247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8ED4E46-84B2-1C4B-9747-0D6C22B105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128" y="352425"/>
            <a:ext cx="11515512" cy="752475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092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2813-90A4-B841-8DAA-4B00E2E34CD3}" type="datetimeFigureOut">
              <a:rPr lang="en-US" smtClean="0"/>
              <a:t>1/11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04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15C8CCE-1165-4616-9970-CAA198E952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37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15C8CCE-1165-4616-9970-CAA198E95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 rtl="0">
              <a:defRPr/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  <a:latin typeface="Arial" panose="020B0604020202020204" pitchFamily="34" charset="0"/>
                <a:cs typeface="Arial"/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  <a:latin typeface="Arial" panose="020B0604020202020204" pitchFamily="34" charset="0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5FE07A-85B4-3E45-AF04-1566E4EC7E2F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46075" y="6498177"/>
            <a:ext cx="5635625" cy="21544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/>
              </a:rPr>
              <a:t>The Coca-Cola Company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56FCF88-57DB-F246-8D24-D73392F71B5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46128" y="352426"/>
            <a:ext cx="11502972" cy="752474"/>
          </a:xfrm>
        </p:spPr>
        <p:txBody>
          <a:bodyPr vert="horz" anchor="b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btfpLayoutConfig" hidden="1"/>
          <p:cNvSpPr txBox="1"/>
          <p:nvPr userDrawn="1">
            <p:custDataLst>
              <p:tags r:id="rId5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overall_0_132517958279959725 columns_1_132517958279959725 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163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9D00CE-E8CD-4619-A325-A400D9010F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39F6DF-C919-41AE-B628-AE1A6E6717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BF422E-2C6A-4143-8371-32D53E030A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65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45">
            <a:extLst>
              <a:ext uri="{FF2B5EF4-FFF2-40B4-BE49-F238E27FC236}">
                <a16:creationId xmlns:a16="http://schemas.microsoft.com/office/drawing/2014/main" id="{B7DAA9E3-7828-4DA8-BEE0-84651C1C400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5057"/>
            <a:ext cx="12192000" cy="6858000"/>
          </a:xfrm>
          <a:custGeom>
            <a:avLst/>
            <a:gdLst>
              <a:gd name="connsiteX0" fmla="*/ 9655124 w 12192000"/>
              <a:gd name="connsiteY0" fmla="*/ 5071668 h 6858000"/>
              <a:gd name="connsiteX1" fmla="*/ 9611886 w 12192000"/>
              <a:gd name="connsiteY1" fmla="*/ 5114906 h 6858000"/>
              <a:gd name="connsiteX2" fmla="*/ 9655124 w 12192000"/>
              <a:gd name="connsiteY2" fmla="*/ 5158145 h 6858000"/>
              <a:gd name="connsiteX3" fmla="*/ 9698363 w 12192000"/>
              <a:gd name="connsiteY3" fmla="*/ 5114906 h 6858000"/>
              <a:gd name="connsiteX4" fmla="*/ 9655124 w 12192000"/>
              <a:gd name="connsiteY4" fmla="*/ 5071668 h 6858000"/>
              <a:gd name="connsiteX5" fmla="*/ 9486976 w 12192000"/>
              <a:gd name="connsiteY5" fmla="*/ 4998003 h 6858000"/>
              <a:gd name="connsiteX6" fmla="*/ 9468559 w 12192000"/>
              <a:gd name="connsiteY6" fmla="*/ 5029231 h 6858000"/>
              <a:gd name="connsiteX7" fmla="*/ 9434129 w 12192000"/>
              <a:gd name="connsiteY7" fmla="*/ 5042843 h 6858000"/>
              <a:gd name="connsiteX8" fmla="*/ 9377278 w 12192000"/>
              <a:gd name="connsiteY8" fmla="*/ 5110903 h 6858000"/>
              <a:gd name="connsiteX9" fmla="*/ 9290001 w 12192000"/>
              <a:gd name="connsiteY9" fmla="*/ 5153341 h 6858000"/>
              <a:gd name="connsiteX10" fmla="*/ 9261976 w 12192000"/>
              <a:gd name="connsiteY10" fmla="*/ 5199782 h 6858000"/>
              <a:gd name="connsiteX11" fmla="*/ 9267581 w 12192000"/>
              <a:gd name="connsiteY11" fmla="*/ 5232611 h 6858000"/>
              <a:gd name="connsiteX12" fmla="*/ 9269182 w 12192000"/>
              <a:gd name="connsiteY12" fmla="*/ 5307077 h 6858000"/>
              <a:gd name="connsiteX13" fmla="*/ 9255571 w 12192000"/>
              <a:gd name="connsiteY13" fmla="*/ 5349514 h 6858000"/>
              <a:gd name="connsiteX14" fmla="*/ 9237955 w 12192000"/>
              <a:gd name="connsiteY14" fmla="*/ 5359123 h 6858000"/>
              <a:gd name="connsiteX15" fmla="*/ 9213133 w 12192000"/>
              <a:gd name="connsiteY15" fmla="*/ 5397557 h 6858000"/>
              <a:gd name="connsiteX16" fmla="*/ 9224343 w 12192000"/>
              <a:gd name="connsiteY16" fmla="*/ 5452806 h 6858000"/>
              <a:gd name="connsiteX17" fmla="*/ 9220339 w 12192000"/>
              <a:gd name="connsiteY17" fmla="*/ 5496044 h 6858000"/>
              <a:gd name="connsiteX18" fmla="*/ 9255571 w 12192000"/>
              <a:gd name="connsiteY18" fmla="*/ 5541685 h 6858000"/>
              <a:gd name="connsiteX19" fmla="*/ 9298809 w 12192000"/>
              <a:gd name="connsiteY19" fmla="*/ 5534478 h 6858000"/>
              <a:gd name="connsiteX20" fmla="*/ 9322830 w 12192000"/>
              <a:gd name="connsiteY20" fmla="*/ 5534478 h 6858000"/>
              <a:gd name="connsiteX21" fmla="*/ 9345250 w 12192000"/>
              <a:gd name="connsiteY21" fmla="*/ 5516062 h 6858000"/>
              <a:gd name="connsiteX22" fmla="*/ 9354859 w 12192000"/>
              <a:gd name="connsiteY22" fmla="*/ 5481632 h 6858000"/>
              <a:gd name="connsiteX23" fmla="*/ 9370873 w 12192000"/>
              <a:gd name="connsiteY23" fmla="*/ 5462415 h 6858000"/>
              <a:gd name="connsiteX24" fmla="*/ 9435730 w 12192000"/>
              <a:gd name="connsiteY24" fmla="*/ 5324692 h 6858000"/>
              <a:gd name="connsiteX25" fmla="*/ 9442937 w 12192000"/>
              <a:gd name="connsiteY25" fmla="*/ 5293465 h 6858000"/>
              <a:gd name="connsiteX26" fmla="*/ 9462154 w 12192000"/>
              <a:gd name="connsiteY26" fmla="*/ 5255031 h 6858000"/>
              <a:gd name="connsiteX27" fmla="*/ 9471762 w 12192000"/>
              <a:gd name="connsiteY27" fmla="*/ 5211792 h 6858000"/>
              <a:gd name="connsiteX28" fmla="*/ 9494983 w 12192000"/>
              <a:gd name="connsiteY28" fmla="*/ 5184568 h 6858000"/>
              <a:gd name="connsiteX29" fmla="*/ 9494182 w 12192000"/>
              <a:gd name="connsiteY29" fmla="*/ 5138928 h 6858000"/>
              <a:gd name="connsiteX30" fmla="*/ 9516602 w 12192000"/>
              <a:gd name="connsiteY30" fmla="*/ 5131721 h 6858000"/>
              <a:gd name="connsiteX31" fmla="*/ 9506193 w 12192000"/>
              <a:gd name="connsiteY31" fmla="*/ 5026028 h 6858000"/>
              <a:gd name="connsiteX32" fmla="*/ 9486976 w 12192000"/>
              <a:gd name="connsiteY32" fmla="*/ 4998003 h 6858000"/>
              <a:gd name="connsiteX33" fmla="*/ 9177902 w 12192000"/>
              <a:gd name="connsiteY33" fmla="*/ 4942753 h 6858000"/>
              <a:gd name="connsiteX34" fmla="*/ 9155482 w 12192000"/>
              <a:gd name="connsiteY34" fmla="*/ 4963571 h 6858000"/>
              <a:gd name="connsiteX35" fmla="*/ 8892049 w 12192000"/>
              <a:gd name="connsiteY35" fmla="*/ 5271044 h 6858000"/>
              <a:gd name="connsiteX36" fmla="*/ 8863223 w 12192000"/>
              <a:gd name="connsiteY36" fmla="*/ 5312681 h 6858000"/>
              <a:gd name="connsiteX37" fmla="*/ 8835999 w 12192000"/>
              <a:gd name="connsiteY37" fmla="*/ 5355118 h 6858000"/>
              <a:gd name="connsiteX38" fmla="*/ 8809575 w 12192000"/>
              <a:gd name="connsiteY38" fmla="*/ 5398357 h 6858000"/>
              <a:gd name="connsiteX39" fmla="*/ 8796764 w 12192000"/>
              <a:gd name="connsiteY39" fmla="*/ 5419976 h 6858000"/>
              <a:gd name="connsiteX40" fmla="*/ 8784753 w 12192000"/>
              <a:gd name="connsiteY40" fmla="*/ 5442396 h 6858000"/>
              <a:gd name="connsiteX41" fmla="*/ 8759932 w 12192000"/>
              <a:gd name="connsiteY41" fmla="*/ 5486435 h 6858000"/>
              <a:gd name="connsiteX42" fmla="*/ 8736711 w 12192000"/>
              <a:gd name="connsiteY42" fmla="*/ 5531275 h 6858000"/>
              <a:gd name="connsiteX43" fmla="*/ 8714291 w 12192000"/>
              <a:gd name="connsiteY43" fmla="*/ 5576915 h 6858000"/>
              <a:gd name="connsiteX44" fmla="*/ 8703081 w 12192000"/>
              <a:gd name="connsiteY44" fmla="*/ 5600136 h 6858000"/>
              <a:gd name="connsiteX45" fmla="*/ 8692672 w 12192000"/>
              <a:gd name="connsiteY45" fmla="*/ 5623356 h 6858000"/>
              <a:gd name="connsiteX46" fmla="*/ 8595786 w 12192000"/>
              <a:gd name="connsiteY46" fmla="*/ 5879583 h 6858000"/>
              <a:gd name="connsiteX47" fmla="*/ 9001746 w 12192000"/>
              <a:gd name="connsiteY47" fmla="*/ 5471221 h 6858000"/>
              <a:gd name="connsiteX48" fmla="*/ 9129059 w 12192000"/>
              <a:gd name="connsiteY48" fmla="*/ 5175759 h 6858000"/>
              <a:gd name="connsiteX49" fmla="*/ 9177902 w 12192000"/>
              <a:gd name="connsiteY49" fmla="*/ 4942753 h 6858000"/>
              <a:gd name="connsiteX50" fmla="*/ 8950500 w 12192000"/>
              <a:gd name="connsiteY50" fmla="*/ 4845067 h 6858000"/>
              <a:gd name="connsiteX51" fmla="*/ 8932884 w 12192000"/>
              <a:gd name="connsiteY51" fmla="*/ 4864284 h 6858000"/>
              <a:gd name="connsiteX52" fmla="*/ 8921674 w 12192000"/>
              <a:gd name="connsiteY52" fmla="*/ 4875494 h 6858000"/>
              <a:gd name="connsiteX53" fmla="*/ 8910464 w 12192000"/>
              <a:gd name="connsiteY53" fmla="*/ 4886704 h 6858000"/>
              <a:gd name="connsiteX54" fmla="*/ 8888845 w 12192000"/>
              <a:gd name="connsiteY54" fmla="*/ 4909124 h 6858000"/>
              <a:gd name="connsiteX55" fmla="*/ 8867226 w 12192000"/>
              <a:gd name="connsiteY55" fmla="*/ 4931544 h 6858000"/>
              <a:gd name="connsiteX56" fmla="*/ 8845607 w 12192000"/>
              <a:gd name="connsiteY56" fmla="*/ 4953963 h 6858000"/>
              <a:gd name="connsiteX57" fmla="*/ 8823988 w 12192000"/>
              <a:gd name="connsiteY57" fmla="*/ 4976383 h 6858000"/>
              <a:gd name="connsiteX58" fmla="*/ 8813578 w 12192000"/>
              <a:gd name="connsiteY58" fmla="*/ 4987593 h 6858000"/>
              <a:gd name="connsiteX59" fmla="*/ 8803169 w 12192000"/>
              <a:gd name="connsiteY59" fmla="*/ 4999604 h 6858000"/>
              <a:gd name="connsiteX60" fmla="*/ 8761532 w 12192000"/>
              <a:gd name="connsiteY60" fmla="*/ 5046045 h 6858000"/>
              <a:gd name="connsiteX61" fmla="*/ 8721497 w 12192000"/>
              <a:gd name="connsiteY61" fmla="*/ 5094088 h 6858000"/>
              <a:gd name="connsiteX62" fmla="*/ 8683063 w 12192000"/>
              <a:gd name="connsiteY62" fmla="*/ 5142931 h 6858000"/>
              <a:gd name="connsiteX63" fmla="*/ 8663846 w 12192000"/>
              <a:gd name="connsiteY63" fmla="*/ 5167753 h 6858000"/>
              <a:gd name="connsiteX64" fmla="*/ 8645429 w 12192000"/>
              <a:gd name="connsiteY64" fmla="*/ 5192575 h 6858000"/>
              <a:gd name="connsiteX65" fmla="*/ 8509309 w 12192000"/>
              <a:gd name="connsiteY65" fmla="*/ 5400760 h 6858000"/>
              <a:gd name="connsiteX66" fmla="*/ 8478882 w 12192000"/>
              <a:gd name="connsiteY66" fmla="*/ 5455208 h 6858000"/>
              <a:gd name="connsiteX67" fmla="*/ 8450857 w 12192000"/>
              <a:gd name="connsiteY67" fmla="*/ 5511257 h 6858000"/>
              <a:gd name="connsiteX68" fmla="*/ 8424433 w 12192000"/>
              <a:gd name="connsiteY68" fmla="*/ 5568108 h 6858000"/>
              <a:gd name="connsiteX69" fmla="*/ 8411622 w 12192000"/>
              <a:gd name="connsiteY69" fmla="*/ 5596933 h 6858000"/>
              <a:gd name="connsiteX70" fmla="*/ 8405216 w 12192000"/>
              <a:gd name="connsiteY70" fmla="*/ 5611346 h 6858000"/>
              <a:gd name="connsiteX71" fmla="*/ 8399611 w 12192000"/>
              <a:gd name="connsiteY71" fmla="*/ 5625759 h 6858000"/>
              <a:gd name="connsiteX72" fmla="*/ 8367583 w 12192000"/>
              <a:gd name="connsiteY72" fmla="*/ 5710634 h 6858000"/>
              <a:gd name="connsiteX73" fmla="*/ 8387601 w 12192000"/>
              <a:gd name="connsiteY73" fmla="*/ 5745065 h 6858000"/>
              <a:gd name="connsiteX74" fmla="*/ 8482885 w 12192000"/>
              <a:gd name="connsiteY74" fmla="*/ 5901203 h 6858000"/>
              <a:gd name="connsiteX75" fmla="*/ 8568561 w 12192000"/>
              <a:gd name="connsiteY75" fmla="*/ 5887591 h 6858000"/>
              <a:gd name="connsiteX76" fmla="*/ 8639824 w 12192000"/>
              <a:gd name="connsiteY76" fmla="*/ 5604941 h 6858000"/>
              <a:gd name="connsiteX77" fmla="*/ 8723899 w 12192000"/>
              <a:gd name="connsiteY77" fmla="*/ 5411969 h 6858000"/>
              <a:gd name="connsiteX78" fmla="*/ 8735910 w 12192000"/>
              <a:gd name="connsiteY78" fmla="*/ 5388749 h 6858000"/>
              <a:gd name="connsiteX79" fmla="*/ 8748721 w 12192000"/>
              <a:gd name="connsiteY79" fmla="*/ 5365528 h 6858000"/>
              <a:gd name="connsiteX80" fmla="*/ 8775144 w 12192000"/>
              <a:gd name="connsiteY80" fmla="*/ 5319888 h 6858000"/>
              <a:gd name="connsiteX81" fmla="*/ 8832795 w 12192000"/>
              <a:gd name="connsiteY81" fmla="*/ 5231810 h 6858000"/>
              <a:gd name="connsiteX82" fmla="*/ 9117047 w 12192000"/>
              <a:gd name="connsiteY82" fmla="*/ 4923536 h 6858000"/>
              <a:gd name="connsiteX83" fmla="*/ 9159485 w 12192000"/>
              <a:gd name="connsiteY83" fmla="*/ 4889106 h 6858000"/>
              <a:gd name="connsiteX84" fmla="*/ 9145072 w 12192000"/>
              <a:gd name="connsiteY84" fmla="*/ 4845067 h 6858000"/>
              <a:gd name="connsiteX85" fmla="*/ 8306729 w 12192000"/>
              <a:gd name="connsiteY85" fmla="*/ 4646491 h 6858000"/>
              <a:gd name="connsiteX86" fmla="*/ 8284309 w 12192000"/>
              <a:gd name="connsiteY86" fmla="*/ 4675316 h 6858000"/>
              <a:gd name="connsiteX87" fmla="*/ 8273100 w 12192000"/>
              <a:gd name="connsiteY87" fmla="*/ 4689729 h 6858000"/>
              <a:gd name="connsiteX88" fmla="*/ 8262690 w 12192000"/>
              <a:gd name="connsiteY88" fmla="*/ 4704142 h 6858000"/>
              <a:gd name="connsiteX89" fmla="*/ 8209043 w 12192000"/>
              <a:gd name="connsiteY89" fmla="*/ 4782612 h 6858000"/>
              <a:gd name="connsiteX90" fmla="*/ 8194630 w 12192000"/>
              <a:gd name="connsiteY90" fmla="*/ 5239016 h 6858000"/>
              <a:gd name="connsiteX91" fmla="*/ 8231463 w 12192000"/>
              <a:gd name="connsiteY91" fmla="*/ 5312682 h 6858000"/>
              <a:gd name="connsiteX92" fmla="*/ 8319541 w 12192000"/>
              <a:gd name="connsiteY92" fmla="*/ 5076472 h 6858000"/>
              <a:gd name="connsiteX93" fmla="*/ 8450057 w 12192000"/>
              <a:gd name="connsiteY93" fmla="*/ 4845067 h 6858000"/>
              <a:gd name="connsiteX94" fmla="*/ 8363580 w 12192000"/>
              <a:gd name="connsiteY94" fmla="*/ 4845067 h 6858000"/>
              <a:gd name="connsiteX95" fmla="*/ 8800768 w 12192000"/>
              <a:gd name="connsiteY95" fmla="*/ 4626473 h 6858000"/>
              <a:gd name="connsiteX96" fmla="*/ 8751124 w 12192000"/>
              <a:gd name="connsiteY96" fmla="*/ 4845867 h 6858000"/>
              <a:gd name="connsiteX97" fmla="*/ 8530929 w 12192000"/>
              <a:gd name="connsiteY97" fmla="*/ 4845867 h 6858000"/>
              <a:gd name="connsiteX98" fmla="*/ 8367584 w 12192000"/>
              <a:gd name="connsiteY98" fmla="*/ 5101294 h 6858000"/>
              <a:gd name="connsiteX99" fmla="*/ 8251481 w 12192000"/>
              <a:gd name="connsiteY99" fmla="*/ 5367129 h 6858000"/>
              <a:gd name="connsiteX100" fmla="*/ 8350769 w 12192000"/>
              <a:gd name="connsiteY100" fmla="*/ 5676204 h 6858000"/>
              <a:gd name="connsiteX101" fmla="*/ 8368385 w 12192000"/>
              <a:gd name="connsiteY101" fmla="*/ 5613748 h 6858000"/>
              <a:gd name="connsiteX102" fmla="*/ 8372388 w 12192000"/>
              <a:gd name="connsiteY102" fmla="*/ 5598535 h 6858000"/>
              <a:gd name="connsiteX103" fmla="*/ 8377192 w 12192000"/>
              <a:gd name="connsiteY103" fmla="*/ 5583321 h 6858000"/>
              <a:gd name="connsiteX104" fmla="*/ 8387602 w 12192000"/>
              <a:gd name="connsiteY104" fmla="*/ 5552894 h 6858000"/>
              <a:gd name="connsiteX105" fmla="*/ 8409221 w 12192000"/>
              <a:gd name="connsiteY105" fmla="*/ 5492841 h 6858000"/>
              <a:gd name="connsiteX106" fmla="*/ 8433242 w 12192000"/>
              <a:gd name="connsiteY106" fmla="*/ 5433589 h 6858000"/>
              <a:gd name="connsiteX107" fmla="*/ 8460466 w 12192000"/>
              <a:gd name="connsiteY107" fmla="*/ 5375937 h 6858000"/>
              <a:gd name="connsiteX108" fmla="*/ 8467673 w 12192000"/>
              <a:gd name="connsiteY108" fmla="*/ 5361525 h 6858000"/>
              <a:gd name="connsiteX109" fmla="*/ 8474879 w 12192000"/>
              <a:gd name="connsiteY109" fmla="*/ 5347112 h 6858000"/>
              <a:gd name="connsiteX110" fmla="*/ 8490093 w 12192000"/>
              <a:gd name="connsiteY110" fmla="*/ 5319087 h 6858000"/>
              <a:gd name="connsiteX111" fmla="*/ 8505306 w 12192000"/>
              <a:gd name="connsiteY111" fmla="*/ 5291062 h 6858000"/>
              <a:gd name="connsiteX112" fmla="*/ 8513313 w 12192000"/>
              <a:gd name="connsiteY112" fmla="*/ 5276649 h 6858000"/>
              <a:gd name="connsiteX113" fmla="*/ 8521320 w 12192000"/>
              <a:gd name="connsiteY113" fmla="*/ 5263037 h 6858000"/>
              <a:gd name="connsiteX114" fmla="*/ 8554950 w 12192000"/>
              <a:gd name="connsiteY114" fmla="*/ 5208589 h 6858000"/>
              <a:gd name="connsiteX115" fmla="*/ 8590982 w 12192000"/>
              <a:gd name="connsiteY115" fmla="*/ 5154941 h 6858000"/>
              <a:gd name="connsiteX116" fmla="*/ 8750323 w 12192000"/>
              <a:gd name="connsiteY116" fmla="*/ 4953963 h 6858000"/>
              <a:gd name="connsiteX117" fmla="*/ 8760732 w 12192000"/>
              <a:gd name="connsiteY117" fmla="*/ 4941953 h 6858000"/>
              <a:gd name="connsiteX118" fmla="*/ 8771942 w 12192000"/>
              <a:gd name="connsiteY118" fmla="*/ 4929942 h 6858000"/>
              <a:gd name="connsiteX119" fmla="*/ 8794362 w 12192000"/>
              <a:gd name="connsiteY119" fmla="*/ 4906721 h 6858000"/>
              <a:gd name="connsiteX120" fmla="*/ 8816782 w 12192000"/>
              <a:gd name="connsiteY120" fmla="*/ 4883501 h 6858000"/>
              <a:gd name="connsiteX121" fmla="*/ 8839202 w 12192000"/>
              <a:gd name="connsiteY121" fmla="*/ 4861081 h 6858000"/>
              <a:gd name="connsiteX122" fmla="*/ 8854416 w 12192000"/>
              <a:gd name="connsiteY122" fmla="*/ 4845867 h 6858000"/>
              <a:gd name="connsiteX123" fmla="*/ 8850412 w 12192000"/>
              <a:gd name="connsiteY123" fmla="*/ 4845867 h 6858000"/>
              <a:gd name="connsiteX124" fmla="*/ 9876921 w 12192000"/>
              <a:gd name="connsiteY124" fmla="*/ 3917044 h 6858000"/>
              <a:gd name="connsiteX125" fmla="*/ 9876921 w 12192000"/>
              <a:gd name="connsiteY125" fmla="*/ 4769800 h 6858000"/>
              <a:gd name="connsiteX126" fmla="*/ 10134750 w 12192000"/>
              <a:gd name="connsiteY126" fmla="*/ 4769800 h 6858000"/>
              <a:gd name="connsiteX127" fmla="*/ 10134750 w 12192000"/>
              <a:gd name="connsiteY127" fmla="*/ 4337417 h 6858000"/>
              <a:gd name="connsiteX128" fmla="*/ 10449429 w 12192000"/>
              <a:gd name="connsiteY128" fmla="*/ 4769800 h 6858000"/>
              <a:gd name="connsiteX129" fmla="*/ 10697649 w 12192000"/>
              <a:gd name="connsiteY129" fmla="*/ 4769800 h 6858000"/>
              <a:gd name="connsiteX130" fmla="*/ 10697649 w 12192000"/>
              <a:gd name="connsiteY130" fmla="*/ 3917044 h 6858000"/>
              <a:gd name="connsiteX131" fmla="*/ 10439019 w 12192000"/>
              <a:gd name="connsiteY131" fmla="*/ 3917044 h 6858000"/>
              <a:gd name="connsiteX132" fmla="*/ 10439019 w 12192000"/>
              <a:gd name="connsiteY132" fmla="*/ 4320602 h 6858000"/>
              <a:gd name="connsiteX133" fmla="*/ 10142757 w 12192000"/>
              <a:gd name="connsiteY133" fmla="*/ 3917044 h 6858000"/>
              <a:gd name="connsiteX134" fmla="*/ 9480570 w 12192000"/>
              <a:gd name="connsiteY134" fmla="*/ 3917044 h 6858000"/>
              <a:gd name="connsiteX135" fmla="*/ 9480570 w 12192000"/>
              <a:gd name="connsiteY135" fmla="*/ 4769800 h 6858000"/>
              <a:gd name="connsiteX136" fmla="*/ 9739199 w 12192000"/>
              <a:gd name="connsiteY136" fmla="*/ 4769800 h 6858000"/>
              <a:gd name="connsiteX137" fmla="*/ 9739199 w 12192000"/>
              <a:gd name="connsiteY137" fmla="*/ 3917044 h 6858000"/>
              <a:gd name="connsiteX138" fmla="*/ 8176214 w 12192000"/>
              <a:gd name="connsiteY138" fmla="*/ 3917044 h 6858000"/>
              <a:gd name="connsiteX139" fmla="*/ 8420430 w 12192000"/>
              <a:gd name="connsiteY139" fmla="*/ 4769800 h 6858000"/>
              <a:gd name="connsiteX140" fmla="*/ 8691871 w 12192000"/>
              <a:gd name="connsiteY140" fmla="*/ 4769800 h 6858000"/>
              <a:gd name="connsiteX141" fmla="*/ 8801568 w 12192000"/>
              <a:gd name="connsiteY141" fmla="*/ 4286171 h 6858000"/>
              <a:gd name="connsiteX142" fmla="*/ 8911266 w 12192000"/>
              <a:gd name="connsiteY142" fmla="*/ 4769800 h 6858000"/>
              <a:gd name="connsiteX143" fmla="*/ 9182706 w 12192000"/>
              <a:gd name="connsiteY143" fmla="*/ 4769800 h 6858000"/>
              <a:gd name="connsiteX144" fmla="*/ 9426923 w 12192000"/>
              <a:gd name="connsiteY144" fmla="*/ 3917044 h 6858000"/>
              <a:gd name="connsiteX145" fmla="*/ 9136265 w 12192000"/>
              <a:gd name="connsiteY145" fmla="*/ 3917044 h 6858000"/>
              <a:gd name="connsiteX146" fmla="*/ 9027368 w 12192000"/>
              <a:gd name="connsiteY146" fmla="*/ 4438306 h 6858000"/>
              <a:gd name="connsiteX147" fmla="*/ 8898454 w 12192000"/>
              <a:gd name="connsiteY147" fmla="*/ 3917044 h 6858000"/>
              <a:gd name="connsiteX148" fmla="*/ 8704682 w 12192000"/>
              <a:gd name="connsiteY148" fmla="*/ 3917044 h 6858000"/>
              <a:gd name="connsiteX149" fmla="*/ 8574967 w 12192000"/>
              <a:gd name="connsiteY149" fmla="*/ 4438306 h 6858000"/>
              <a:gd name="connsiteX150" fmla="*/ 8465270 w 12192000"/>
              <a:gd name="connsiteY150" fmla="*/ 3917044 h 6858000"/>
              <a:gd name="connsiteX151" fmla="*/ 11152452 w 12192000"/>
              <a:gd name="connsiteY151" fmla="*/ 3905033 h 6858000"/>
              <a:gd name="connsiteX152" fmla="*/ 10892221 w 12192000"/>
              <a:gd name="connsiteY152" fmla="*/ 3988307 h 6858000"/>
              <a:gd name="connsiteX153" fmla="*/ 10798538 w 12192000"/>
              <a:gd name="connsiteY153" fmla="*/ 4187684 h 6858000"/>
              <a:gd name="connsiteX154" fmla="*/ 10847381 w 12192000"/>
              <a:gd name="connsiteY154" fmla="*/ 4342221 h 6858000"/>
              <a:gd name="connsiteX155" fmla="*/ 10966687 w 12192000"/>
              <a:gd name="connsiteY155" fmla="*/ 4427897 h 6858000"/>
              <a:gd name="connsiteX156" fmla="*/ 11106010 w 12192000"/>
              <a:gd name="connsiteY156" fmla="*/ 4464729 h 6858000"/>
              <a:gd name="connsiteX157" fmla="*/ 11225316 w 12192000"/>
              <a:gd name="connsiteY157" fmla="*/ 4488751 h 6858000"/>
              <a:gd name="connsiteX158" fmla="*/ 11274159 w 12192000"/>
              <a:gd name="connsiteY158" fmla="*/ 4522380 h 6858000"/>
              <a:gd name="connsiteX159" fmla="*/ 11179676 w 12192000"/>
              <a:gd name="connsiteY159" fmla="*/ 4568021 h 6858000"/>
              <a:gd name="connsiteX160" fmla="*/ 10905032 w 12192000"/>
              <a:gd name="connsiteY160" fmla="*/ 4458324 h 6858000"/>
              <a:gd name="connsiteX161" fmla="*/ 10770513 w 12192000"/>
              <a:gd name="connsiteY161" fmla="*/ 4650494 h 6858000"/>
              <a:gd name="connsiteX162" fmla="*/ 11166864 w 12192000"/>
              <a:gd name="connsiteY162" fmla="*/ 4785814 h 6858000"/>
              <a:gd name="connsiteX163" fmla="*/ 11437504 w 12192000"/>
              <a:gd name="connsiteY163" fmla="*/ 4707344 h 6858000"/>
              <a:gd name="connsiteX164" fmla="*/ 11535191 w 12192000"/>
              <a:gd name="connsiteY164" fmla="*/ 4488751 h 6858000"/>
              <a:gd name="connsiteX165" fmla="*/ 11499960 w 12192000"/>
              <a:gd name="connsiteY165" fmla="*/ 4360637 h 6858000"/>
              <a:gd name="connsiteX166" fmla="*/ 11412682 w 12192000"/>
              <a:gd name="connsiteY166" fmla="*/ 4280566 h 6858000"/>
              <a:gd name="connsiteX167" fmla="*/ 11298181 w 12192000"/>
              <a:gd name="connsiteY167" fmla="*/ 4236527 h 6858000"/>
              <a:gd name="connsiteX168" fmla="*/ 11183679 w 12192000"/>
              <a:gd name="connsiteY168" fmla="*/ 4210904 h 6858000"/>
              <a:gd name="connsiteX169" fmla="*/ 11096402 w 12192000"/>
              <a:gd name="connsiteY169" fmla="*/ 4190886 h 6858000"/>
              <a:gd name="connsiteX170" fmla="*/ 11061171 w 12192000"/>
              <a:gd name="connsiteY170" fmla="*/ 4160460 h 6858000"/>
              <a:gd name="connsiteX171" fmla="*/ 11126028 w 12192000"/>
              <a:gd name="connsiteY171" fmla="*/ 4122025 h 6858000"/>
              <a:gd name="connsiteX172" fmla="*/ 11376650 w 12192000"/>
              <a:gd name="connsiteY172" fmla="*/ 4206100 h 6858000"/>
              <a:gd name="connsiteX173" fmla="*/ 11514372 w 12192000"/>
              <a:gd name="connsiteY173" fmla="*/ 4023538 h 6858000"/>
              <a:gd name="connsiteX174" fmla="*/ 11152452 w 12192000"/>
              <a:gd name="connsiteY174" fmla="*/ 3905033 h 6858000"/>
              <a:gd name="connsiteX175" fmla="*/ 7221768 w 12192000"/>
              <a:gd name="connsiteY175" fmla="*/ 3876208 h 6858000"/>
              <a:gd name="connsiteX176" fmla="*/ 7204953 w 12192000"/>
              <a:gd name="connsiteY176" fmla="*/ 3911439 h 6858000"/>
              <a:gd name="connsiteX177" fmla="*/ 7483600 w 12192000"/>
              <a:gd name="connsiteY177" fmla="*/ 4337417 h 6858000"/>
              <a:gd name="connsiteX178" fmla="*/ 7670966 w 12192000"/>
              <a:gd name="connsiteY178" fmla="*/ 4334214 h 6858000"/>
              <a:gd name="connsiteX179" fmla="*/ 7936001 w 12192000"/>
              <a:gd name="connsiteY179" fmla="*/ 4286171 h 6858000"/>
              <a:gd name="connsiteX180" fmla="*/ 8100147 w 12192000"/>
              <a:gd name="connsiteY180" fmla="*/ 4537594 h 6858000"/>
              <a:gd name="connsiteX181" fmla="*/ 8180218 w 12192000"/>
              <a:gd name="connsiteY181" fmla="*/ 4707345 h 6858000"/>
              <a:gd name="connsiteX182" fmla="*/ 8208243 w 12192000"/>
              <a:gd name="connsiteY182" fmla="*/ 4665708 h 6858000"/>
              <a:gd name="connsiteX183" fmla="*/ 8219453 w 12192000"/>
              <a:gd name="connsiteY183" fmla="*/ 4649694 h 6858000"/>
              <a:gd name="connsiteX184" fmla="*/ 8230662 w 12192000"/>
              <a:gd name="connsiteY184" fmla="*/ 4634480 h 6858000"/>
              <a:gd name="connsiteX185" fmla="*/ 8253883 w 12192000"/>
              <a:gd name="connsiteY185" fmla="*/ 4604053 h 6858000"/>
              <a:gd name="connsiteX186" fmla="*/ 8284310 w 12192000"/>
              <a:gd name="connsiteY186" fmla="*/ 4567221 h 6858000"/>
              <a:gd name="connsiteX187" fmla="*/ 8168207 w 12192000"/>
              <a:gd name="connsiteY187" fmla="*/ 4160460 h 6858000"/>
              <a:gd name="connsiteX188" fmla="*/ 8138581 w 12192000"/>
              <a:gd name="connsiteY188" fmla="*/ 4163663 h 6858000"/>
              <a:gd name="connsiteX189" fmla="*/ 8099346 w 12192000"/>
              <a:gd name="connsiteY189" fmla="*/ 4167666 h 6858000"/>
              <a:gd name="connsiteX190" fmla="*/ 8060111 w 12192000"/>
              <a:gd name="connsiteY190" fmla="*/ 4170069 h 6858000"/>
              <a:gd name="connsiteX191" fmla="*/ 8040094 w 12192000"/>
              <a:gd name="connsiteY191" fmla="*/ 4170869 h 6858000"/>
              <a:gd name="connsiteX192" fmla="*/ 8020076 w 12192000"/>
              <a:gd name="connsiteY192" fmla="*/ 4170869 h 6858000"/>
              <a:gd name="connsiteX193" fmla="*/ 7980841 w 12192000"/>
              <a:gd name="connsiteY193" fmla="*/ 4170869 h 6858000"/>
              <a:gd name="connsiteX194" fmla="*/ 7823902 w 12192000"/>
              <a:gd name="connsiteY194" fmla="*/ 4157257 h 6858000"/>
              <a:gd name="connsiteX195" fmla="*/ 7804685 w 12192000"/>
              <a:gd name="connsiteY195" fmla="*/ 4154054 h 6858000"/>
              <a:gd name="connsiteX196" fmla="*/ 7785468 w 12192000"/>
              <a:gd name="connsiteY196" fmla="*/ 4150051 h 6858000"/>
              <a:gd name="connsiteX197" fmla="*/ 7747034 w 12192000"/>
              <a:gd name="connsiteY197" fmla="*/ 4142044 h 6858000"/>
              <a:gd name="connsiteX198" fmla="*/ 7670966 w 12192000"/>
              <a:gd name="connsiteY198" fmla="*/ 4122026 h 6858000"/>
              <a:gd name="connsiteX199" fmla="*/ 7523636 w 12192000"/>
              <a:gd name="connsiteY199" fmla="*/ 4067578 h 6858000"/>
              <a:gd name="connsiteX200" fmla="*/ 7385113 w 12192000"/>
              <a:gd name="connsiteY200" fmla="*/ 3995514 h 6858000"/>
              <a:gd name="connsiteX201" fmla="*/ 7257800 w 12192000"/>
              <a:gd name="connsiteY201" fmla="*/ 3906635 h 6858000"/>
              <a:gd name="connsiteX202" fmla="*/ 7221768 w 12192000"/>
              <a:gd name="connsiteY202" fmla="*/ 3876208 h 6858000"/>
              <a:gd name="connsiteX203" fmla="*/ 9182706 w 12192000"/>
              <a:gd name="connsiteY203" fmla="*/ 3736084 h 6858000"/>
              <a:gd name="connsiteX204" fmla="*/ 9188311 w 12192000"/>
              <a:gd name="connsiteY204" fmla="*/ 3768913 h 6858000"/>
              <a:gd name="connsiteX205" fmla="*/ 9234752 w 12192000"/>
              <a:gd name="connsiteY205" fmla="*/ 3775319 h 6858000"/>
              <a:gd name="connsiteX206" fmla="*/ 9241959 w 12192000"/>
              <a:gd name="connsiteY206" fmla="*/ 3775319 h 6858000"/>
              <a:gd name="connsiteX207" fmla="*/ 9229948 w 12192000"/>
              <a:gd name="connsiteY207" fmla="*/ 3767312 h 6858000"/>
              <a:gd name="connsiteX208" fmla="*/ 9182706 w 12192000"/>
              <a:gd name="connsiteY208" fmla="*/ 3736084 h 6858000"/>
              <a:gd name="connsiteX209" fmla="*/ 9190713 w 12192000"/>
              <a:gd name="connsiteY209" fmla="*/ 3701653 h 6858000"/>
              <a:gd name="connsiteX210" fmla="*/ 9185108 w 12192000"/>
              <a:gd name="connsiteY210" fmla="*/ 3728877 h 6858000"/>
              <a:gd name="connsiteX211" fmla="*/ 9248364 w 12192000"/>
              <a:gd name="connsiteY211" fmla="*/ 3775318 h 6858000"/>
              <a:gd name="connsiteX212" fmla="*/ 9281193 w 12192000"/>
              <a:gd name="connsiteY212" fmla="*/ 3768913 h 6858000"/>
              <a:gd name="connsiteX213" fmla="*/ 9285197 w 12192000"/>
              <a:gd name="connsiteY213" fmla="*/ 3764108 h 6858000"/>
              <a:gd name="connsiteX214" fmla="*/ 9239556 w 12192000"/>
              <a:gd name="connsiteY214" fmla="*/ 3733681 h 6858000"/>
              <a:gd name="connsiteX215" fmla="*/ 9190713 w 12192000"/>
              <a:gd name="connsiteY215" fmla="*/ 3701653 h 6858000"/>
              <a:gd name="connsiteX216" fmla="*/ 9188311 w 12192000"/>
              <a:gd name="connsiteY216" fmla="*/ 3659216 h 6858000"/>
              <a:gd name="connsiteX217" fmla="*/ 9190713 w 12192000"/>
              <a:gd name="connsiteY217" fmla="*/ 3690444 h 6858000"/>
              <a:gd name="connsiteX218" fmla="*/ 9190713 w 12192000"/>
              <a:gd name="connsiteY218" fmla="*/ 3692045 h 6858000"/>
              <a:gd name="connsiteX219" fmla="*/ 9286798 w 12192000"/>
              <a:gd name="connsiteY219" fmla="*/ 3760105 h 6858000"/>
              <a:gd name="connsiteX220" fmla="*/ 9285197 w 12192000"/>
              <a:gd name="connsiteY220" fmla="*/ 3730479 h 6858000"/>
              <a:gd name="connsiteX221" fmla="*/ 9282795 w 12192000"/>
              <a:gd name="connsiteY221" fmla="*/ 3721671 h 6858000"/>
              <a:gd name="connsiteX222" fmla="*/ 9240357 w 12192000"/>
              <a:gd name="connsiteY222" fmla="*/ 3692846 h 6858000"/>
              <a:gd name="connsiteX223" fmla="*/ 9188311 w 12192000"/>
              <a:gd name="connsiteY223" fmla="*/ 3659216 h 6858000"/>
              <a:gd name="connsiteX224" fmla="*/ 9181905 w 12192000"/>
              <a:gd name="connsiteY224" fmla="*/ 3611173 h 6858000"/>
              <a:gd name="connsiteX225" fmla="*/ 9182706 w 12192000"/>
              <a:gd name="connsiteY225" fmla="*/ 3615977 h 6858000"/>
              <a:gd name="connsiteX226" fmla="*/ 9187510 w 12192000"/>
              <a:gd name="connsiteY226" fmla="*/ 3648006 h 6858000"/>
              <a:gd name="connsiteX227" fmla="*/ 9281994 w 12192000"/>
              <a:gd name="connsiteY227" fmla="*/ 3715265 h 6858000"/>
              <a:gd name="connsiteX228" fmla="*/ 9279592 w 12192000"/>
              <a:gd name="connsiteY228" fmla="*/ 3690443 h 6858000"/>
              <a:gd name="connsiteX229" fmla="*/ 9280392 w 12192000"/>
              <a:gd name="connsiteY229" fmla="*/ 3676030 h 6858000"/>
              <a:gd name="connsiteX230" fmla="*/ 9264378 w 12192000"/>
              <a:gd name="connsiteY230" fmla="*/ 3665621 h 6858000"/>
              <a:gd name="connsiteX231" fmla="*/ 9181905 w 12192000"/>
              <a:gd name="connsiteY231" fmla="*/ 3611173 h 6858000"/>
              <a:gd name="connsiteX232" fmla="*/ 9182706 w 12192000"/>
              <a:gd name="connsiteY232" fmla="*/ 3575942 h 6858000"/>
              <a:gd name="connsiteX233" fmla="*/ 9182706 w 12192000"/>
              <a:gd name="connsiteY233" fmla="*/ 3595159 h 6858000"/>
              <a:gd name="connsiteX234" fmla="*/ 9280392 w 12192000"/>
              <a:gd name="connsiteY234" fmla="*/ 3672027 h 6858000"/>
              <a:gd name="connsiteX235" fmla="*/ 9283595 w 12192000"/>
              <a:gd name="connsiteY235" fmla="*/ 3643202 h 6858000"/>
              <a:gd name="connsiteX236" fmla="*/ 9253969 w 12192000"/>
              <a:gd name="connsiteY236" fmla="*/ 3623184 h 6858000"/>
              <a:gd name="connsiteX237" fmla="*/ 9182706 w 12192000"/>
              <a:gd name="connsiteY237" fmla="*/ 3575942 h 6858000"/>
              <a:gd name="connsiteX238" fmla="*/ 7265806 w 12192000"/>
              <a:gd name="connsiteY238" fmla="*/ 3544714 h 6858000"/>
              <a:gd name="connsiteX239" fmla="*/ 7210557 w 12192000"/>
              <a:gd name="connsiteY239" fmla="*/ 3649607 h 6858000"/>
              <a:gd name="connsiteX240" fmla="*/ 7224170 w 12192000"/>
              <a:gd name="connsiteY240" fmla="*/ 3863397 h 6858000"/>
              <a:gd name="connsiteX241" fmla="*/ 7236981 w 12192000"/>
              <a:gd name="connsiteY241" fmla="*/ 3872204 h 6858000"/>
              <a:gd name="connsiteX242" fmla="*/ 7269009 w 12192000"/>
              <a:gd name="connsiteY242" fmla="*/ 3893023 h 6858000"/>
              <a:gd name="connsiteX243" fmla="*/ 7401927 w 12192000"/>
              <a:gd name="connsiteY243" fmla="*/ 3967489 h 6858000"/>
              <a:gd name="connsiteX244" fmla="*/ 7541251 w 12192000"/>
              <a:gd name="connsiteY244" fmla="*/ 4026741 h 6858000"/>
              <a:gd name="connsiteX245" fmla="*/ 7576482 w 12192000"/>
              <a:gd name="connsiteY245" fmla="*/ 4039553 h 6858000"/>
              <a:gd name="connsiteX246" fmla="*/ 7612514 w 12192000"/>
              <a:gd name="connsiteY246" fmla="*/ 4050763 h 6858000"/>
              <a:gd name="connsiteX247" fmla="*/ 7685378 w 12192000"/>
              <a:gd name="connsiteY247" fmla="*/ 4069980 h 6858000"/>
              <a:gd name="connsiteX248" fmla="*/ 7759044 w 12192000"/>
              <a:gd name="connsiteY248" fmla="*/ 4085994 h 6858000"/>
              <a:gd name="connsiteX249" fmla="*/ 7795876 w 12192000"/>
              <a:gd name="connsiteY249" fmla="*/ 4091599 h 6858000"/>
              <a:gd name="connsiteX250" fmla="*/ 7814293 w 12192000"/>
              <a:gd name="connsiteY250" fmla="*/ 4094802 h 6858000"/>
              <a:gd name="connsiteX251" fmla="*/ 7832709 w 12192000"/>
              <a:gd name="connsiteY251" fmla="*/ 4097204 h 6858000"/>
              <a:gd name="connsiteX252" fmla="*/ 7981641 w 12192000"/>
              <a:gd name="connsiteY252" fmla="*/ 4106012 h 6858000"/>
              <a:gd name="connsiteX253" fmla="*/ 8019274 w 12192000"/>
              <a:gd name="connsiteY253" fmla="*/ 4105211 h 6858000"/>
              <a:gd name="connsiteX254" fmla="*/ 8037691 w 12192000"/>
              <a:gd name="connsiteY254" fmla="*/ 4104410 h 6858000"/>
              <a:gd name="connsiteX255" fmla="*/ 8056107 w 12192000"/>
              <a:gd name="connsiteY255" fmla="*/ 4102809 h 6858000"/>
              <a:gd name="connsiteX256" fmla="*/ 8092940 w 12192000"/>
              <a:gd name="connsiteY256" fmla="*/ 4100407 h 6858000"/>
              <a:gd name="connsiteX257" fmla="*/ 8129772 w 12192000"/>
              <a:gd name="connsiteY257" fmla="*/ 4095602 h 6858000"/>
              <a:gd name="connsiteX258" fmla="*/ 8148189 w 12192000"/>
              <a:gd name="connsiteY258" fmla="*/ 4093200 h 6858000"/>
              <a:gd name="connsiteX259" fmla="*/ 8083331 w 12192000"/>
              <a:gd name="connsiteY259" fmla="*/ 3866599 h 6858000"/>
              <a:gd name="connsiteX260" fmla="*/ 8012869 w 12192000"/>
              <a:gd name="connsiteY260" fmla="*/ 3864998 h 6858000"/>
              <a:gd name="connsiteX261" fmla="*/ 7994452 w 12192000"/>
              <a:gd name="connsiteY261" fmla="*/ 3864197 h 6858000"/>
              <a:gd name="connsiteX262" fmla="*/ 7976036 w 12192000"/>
              <a:gd name="connsiteY262" fmla="*/ 3862596 h 6858000"/>
              <a:gd name="connsiteX263" fmla="*/ 7938403 w 12192000"/>
              <a:gd name="connsiteY263" fmla="*/ 3858592 h 6858000"/>
              <a:gd name="connsiteX264" fmla="*/ 7901570 w 12192000"/>
              <a:gd name="connsiteY264" fmla="*/ 3852987 h 6858000"/>
              <a:gd name="connsiteX265" fmla="*/ 7883154 w 12192000"/>
              <a:gd name="connsiteY265" fmla="*/ 3849784 h 6858000"/>
              <a:gd name="connsiteX266" fmla="*/ 7864737 w 12192000"/>
              <a:gd name="connsiteY266" fmla="*/ 3846582 h 6858000"/>
              <a:gd name="connsiteX267" fmla="*/ 7827905 w 12192000"/>
              <a:gd name="connsiteY267" fmla="*/ 3839375 h 6858000"/>
              <a:gd name="connsiteX268" fmla="*/ 7791072 w 12192000"/>
              <a:gd name="connsiteY268" fmla="*/ 3830567 h 6858000"/>
              <a:gd name="connsiteX269" fmla="*/ 7772656 w 12192000"/>
              <a:gd name="connsiteY269" fmla="*/ 3825763 h 6858000"/>
              <a:gd name="connsiteX270" fmla="*/ 7755040 w 12192000"/>
              <a:gd name="connsiteY270" fmla="*/ 3820158 h 6858000"/>
              <a:gd name="connsiteX271" fmla="*/ 7719008 w 12192000"/>
              <a:gd name="connsiteY271" fmla="*/ 3809749 h 6858000"/>
              <a:gd name="connsiteX272" fmla="*/ 7449169 w 12192000"/>
              <a:gd name="connsiteY272" fmla="*/ 3684037 h 6858000"/>
              <a:gd name="connsiteX273" fmla="*/ 7328262 w 12192000"/>
              <a:gd name="connsiteY273" fmla="*/ 3599162 h 6858000"/>
              <a:gd name="connsiteX274" fmla="*/ 7265806 w 12192000"/>
              <a:gd name="connsiteY274" fmla="*/ 3544714 h 6858000"/>
              <a:gd name="connsiteX275" fmla="*/ 9188311 w 12192000"/>
              <a:gd name="connsiteY275" fmla="*/ 3540711 h 6858000"/>
              <a:gd name="connsiteX276" fmla="*/ 9183507 w 12192000"/>
              <a:gd name="connsiteY276" fmla="*/ 3563932 h 6858000"/>
              <a:gd name="connsiteX277" fmla="*/ 9284396 w 12192000"/>
              <a:gd name="connsiteY277" fmla="*/ 3639198 h 6858000"/>
              <a:gd name="connsiteX278" fmla="*/ 9287599 w 12192000"/>
              <a:gd name="connsiteY278" fmla="*/ 3615978 h 6858000"/>
              <a:gd name="connsiteX279" fmla="*/ 9287599 w 12192000"/>
              <a:gd name="connsiteY279" fmla="*/ 3605569 h 6858000"/>
              <a:gd name="connsiteX280" fmla="*/ 9286799 w 12192000"/>
              <a:gd name="connsiteY280" fmla="*/ 3605569 h 6858000"/>
              <a:gd name="connsiteX281" fmla="*/ 9264379 w 12192000"/>
              <a:gd name="connsiteY281" fmla="*/ 3590355 h 6858000"/>
              <a:gd name="connsiteX282" fmla="*/ 9188311 w 12192000"/>
              <a:gd name="connsiteY282" fmla="*/ 3540711 h 6858000"/>
              <a:gd name="connsiteX283" fmla="*/ 9831281 w 12192000"/>
              <a:gd name="connsiteY283" fmla="*/ 3522294 h 6858000"/>
              <a:gd name="connsiteX284" fmla="*/ 9873719 w 12192000"/>
              <a:gd name="connsiteY284" fmla="*/ 3647205 h 6858000"/>
              <a:gd name="connsiteX285" fmla="*/ 9788844 w 12192000"/>
              <a:gd name="connsiteY285" fmla="*/ 3647205 h 6858000"/>
              <a:gd name="connsiteX286" fmla="*/ 8369985 w 12192000"/>
              <a:gd name="connsiteY286" fmla="*/ 3522294 h 6858000"/>
              <a:gd name="connsiteX287" fmla="*/ 8412423 w 12192000"/>
              <a:gd name="connsiteY287" fmla="*/ 3647205 h 6858000"/>
              <a:gd name="connsiteX288" fmla="*/ 8327548 w 12192000"/>
              <a:gd name="connsiteY288" fmla="*/ 3647205 h 6858000"/>
              <a:gd name="connsiteX289" fmla="*/ 8947297 w 12192000"/>
              <a:gd name="connsiteY289" fmla="*/ 3512686 h 6858000"/>
              <a:gd name="connsiteX290" fmla="*/ 9015357 w 12192000"/>
              <a:gd name="connsiteY290" fmla="*/ 3512686 h 6858000"/>
              <a:gd name="connsiteX291" fmla="*/ 9044983 w 12192000"/>
              <a:gd name="connsiteY291" fmla="*/ 3522294 h 6858000"/>
              <a:gd name="connsiteX292" fmla="*/ 9056994 w 12192000"/>
              <a:gd name="connsiteY292" fmla="*/ 3547917 h 6858000"/>
              <a:gd name="connsiteX293" fmla="*/ 9044983 w 12192000"/>
              <a:gd name="connsiteY293" fmla="*/ 3574340 h 6858000"/>
              <a:gd name="connsiteX294" fmla="*/ 9015357 w 12192000"/>
              <a:gd name="connsiteY294" fmla="*/ 3583949 h 6858000"/>
              <a:gd name="connsiteX295" fmla="*/ 8947297 w 12192000"/>
              <a:gd name="connsiteY295" fmla="*/ 3583949 h 6858000"/>
              <a:gd name="connsiteX296" fmla="*/ 9193916 w 12192000"/>
              <a:gd name="connsiteY296" fmla="*/ 3503077 h 6858000"/>
              <a:gd name="connsiteX297" fmla="*/ 9187510 w 12192000"/>
              <a:gd name="connsiteY297" fmla="*/ 3525497 h 6858000"/>
              <a:gd name="connsiteX298" fmla="*/ 9287599 w 12192000"/>
              <a:gd name="connsiteY298" fmla="*/ 3601564 h 6858000"/>
              <a:gd name="connsiteX299" fmla="*/ 9286798 w 12192000"/>
              <a:gd name="connsiteY299" fmla="*/ 3563931 h 6858000"/>
              <a:gd name="connsiteX300" fmla="*/ 9263578 w 12192000"/>
              <a:gd name="connsiteY300" fmla="*/ 3548717 h 6858000"/>
              <a:gd name="connsiteX301" fmla="*/ 9193916 w 12192000"/>
              <a:gd name="connsiteY301" fmla="*/ 3503077 h 6858000"/>
              <a:gd name="connsiteX302" fmla="*/ 9205125 w 12192000"/>
              <a:gd name="connsiteY302" fmla="*/ 3471049 h 6858000"/>
              <a:gd name="connsiteX303" fmla="*/ 9202723 w 12192000"/>
              <a:gd name="connsiteY303" fmla="*/ 3479857 h 6858000"/>
              <a:gd name="connsiteX304" fmla="*/ 9197919 w 12192000"/>
              <a:gd name="connsiteY304" fmla="*/ 3494270 h 6858000"/>
              <a:gd name="connsiteX305" fmla="*/ 9286798 w 12192000"/>
              <a:gd name="connsiteY305" fmla="*/ 3560728 h 6858000"/>
              <a:gd name="connsiteX306" fmla="*/ 9281994 w 12192000"/>
              <a:gd name="connsiteY306" fmla="*/ 3540711 h 6858000"/>
              <a:gd name="connsiteX307" fmla="*/ 9283595 w 12192000"/>
              <a:gd name="connsiteY307" fmla="*/ 3529501 h 6858000"/>
              <a:gd name="connsiteX308" fmla="*/ 9281193 w 12192000"/>
              <a:gd name="connsiteY308" fmla="*/ 3520693 h 6858000"/>
              <a:gd name="connsiteX309" fmla="*/ 9274787 w 12192000"/>
              <a:gd name="connsiteY309" fmla="*/ 3516689 h 6858000"/>
              <a:gd name="connsiteX310" fmla="*/ 9205125 w 12192000"/>
              <a:gd name="connsiteY310" fmla="*/ 3471049 h 6858000"/>
              <a:gd name="connsiteX311" fmla="*/ 9210731 w 12192000"/>
              <a:gd name="connsiteY311" fmla="*/ 3441423 h 6858000"/>
              <a:gd name="connsiteX312" fmla="*/ 9210731 w 12192000"/>
              <a:gd name="connsiteY312" fmla="*/ 3443825 h 6858000"/>
              <a:gd name="connsiteX313" fmla="*/ 9207528 w 12192000"/>
              <a:gd name="connsiteY313" fmla="*/ 3459839 h 6858000"/>
              <a:gd name="connsiteX314" fmla="*/ 9278791 w 12192000"/>
              <a:gd name="connsiteY314" fmla="*/ 3514288 h 6858000"/>
              <a:gd name="connsiteX315" fmla="*/ 9267581 w 12192000"/>
              <a:gd name="connsiteY315" fmla="*/ 3479056 h 6858000"/>
              <a:gd name="connsiteX316" fmla="*/ 9263578 w 12192000"/>
              <a:gd name="connsiteY316" fmla="*/ 3475854 h 6858000"/>
              <a:gd name="connsiteX317" fmla="*/ 9210731 w 12192000"/>
              <a:gd name="connsiteY317" fmla="*/ 3441423 h 6858000"/>
              <a:gd name="connsiteX318" fmla="*/ 9777634 w 12192000"/>
              <a:gd name="connsiteY318" fmla="*/ 3437419 h 6858000"/>
              <a:gd name="connsiteX319" fmla="*/ 9652723 w 12192000"/>
              <a:gd name="connsiteY319" fmla="*/ 3768913 h 6858000"/>
              <a:gd name="connsiteX320" fmla="*/ 9749609 w 12192000"/>
              <a:gd name="connsiteY320" fmla="*/ 3768913 h 6858000"/>
              <a:gd name="connsiteX321" fmla="*/ 9766424 w 12192000"/>
              <a:gd name="connsiteY321" fmla="*/ 3720870 h 6858000"/>
              <a:gd name="connsiteX322" fmla="*/ 9896939 w 12192000"/>
              <a:gd name="connsiteY322" fmla="*/ 3720870 h 6858000"/>
              <a:gd name="connsiteX323" fmla="*/ 9913754 w 12192000"/>
              <a:gd name="connsiteY323" fmla="*/ 3768913 h 6858000"/>
              <a:gd name="connsiteX324" fmla="*/ 10010640 w 12192000"/>
              <a:gd name="connsiteY324" fmla="*/ 3768913 h 6858000"/>
              <a:gd name="connsiteX325" fmla="*/ 9884929 w 12192000"/>
              <a:gd name="connsiteY325" fmla="*/ 3437419 h 6858000"/>
              <a:gd name="connsiteX326" fmla="*/ 8861621 w 12192000"/>
              <a:gd name="connsiteY326" fmla="*/ 3437419 h 6858000"/>
              <a:gd name="connsiteX327" fmla="*/ 8861621 w 12192000"/>
              <a:gd name="connsiteY327" fmla="*/ 3768913 h 6858000"/>
              <a:gd name="connsiteX328" fmla="*/ 8947297 w 12192000"/>
              <a:gd name="connsiteY328" fmla="*/ 3768913 h 6858000"/>
              <a:gd name="connsiteX329" fmla="*/ 8947297 w 12192000"/>
              <a:gd name="connsiteY329" fmla="*/ 3658415 h 6858000"/>
              <a:gd name="connsiteX330" fmla="*/ 8991336 w 12192000"/>
              <a:gd name="connsiteY330" fmla="*/ 3658415 h 6858000"/>
              <a:gd name="connsiteX331" fmla="*/ 9047386 w 12192000"/>
              <a:gd name="connsiteY331" fmla="*/ 3769714 h 6858000"/>
              <a:gd name="connsiteX332" fmla="*/ 9145873 w 12192000"/>
              <a:gd name="connsiteY332" fmla="*/ 3769714 h 6858000"/>
              <a:gd name="connsiteX333" fmla="*/ 9077813 w 12192000"/>
              <a:gd name="connsiteY333" fmla="*/ 3647205 h 6858000"/>
              <a:gd name="connsiteX334" fmla="*/ 9124254 w 12192000"/>
              <a:gd name="connsiteY334" fmla="*/ 3612774 h 6858000"/>
              <a:gd name="connsiteX335" fmla="*/ 9144272 w 12192000"/>
              <a:gd name="connsiteY335" fmla="*/ 3547917 h 6858000"/>
              <a:gd name="connsiteX336" fmla="*/ 9113044 w 12192000"/>
              <a:gd name="connsiteY336" fmla="*/ 3468647 h 6858000"/>
              <a:gd name="connsiteX337" fmla="*/ 9028169 w 12192000"/>
              <a:gd name="connsiteY337" fmla="*/ 3437419 h 6858000"/>
              <a:gd name="connsiteX338" fmla="*/ 8573366 w 12192000"/>
              <a:gd name="connsiteY338" fmla="*/ 3437419 h 6858000"/>
              <a:gd name="connsiteX339" fmla="*/ 8573366 w 12192000"/>
              <a:gd name="connsiteY339" fmla="*/ 3769714 h 6858000"/>
              <a:gd name="connsiteX340" fmla="*/ 8659042 w 12192000"/>
              <a:gd name="connsiteY340" fmla="*/ 3769714 h 6858000"/>
              <a:gd name="connsiteX341" fmla="*/ 8659042 w 12192000"/>
              <a:gd name="connsiteY341" fmla="*/ 3638397 h 6858000"/>
              <a:gd name="connsiteX342" fmla="*/ 8812778 w 12192000"/>
              <a:gd name="connsiteY342" fmla="*/ 3638397 h 6858000"/>
              <a:gd name="connsiteX343" fmla="*/ 8812778 w 12192000"/>
              <a:gd name="connsiteY343" fmla="*/ 3563931 h 6858000"/>
              <a:gd name="connsiteX344" fmla="*/ 8659042 w 12192000"/>
              <a:gd name="connsiteY344" fmla="*/ 3563931 h 6858000"/>
              <a:gd name="connsiteX345" fmla="*/ 8659042 w 12192000"/>
              <a:gd name="connsiteY345" fmla="*/ 3511885 h 6858000"/>
              <a:gd name="connsiteX346" fmla="*/ 8816782 w 12192000"/>
              <a:gd name="connsiteY346" fmla="*/ 3511885 h 6858000"/>
              <a:gd name="connsiteX347" fmla="*/ 8816782 w 12192000"/>
              <a:gd name="connsiteY347" fmla="*/ 3437419 h 6858000"/>
              <a:gd name="connsiteX348" fmla="*/ 8316338 w 12192000"/>
              <a:gd name="connsiteY348" fmla="*/ 3437419 h 6858000"/>
              <a:gd name="connsiteX349" fmla="*/ 8191427 w 12192000"/>
              <a:gd name="connsiteY349" fmla="*/ 3768913 h 6858000"/>
              <a:gd name="connsiteX350" fmla="*/ 8288313 w 12192000"/>
              <a:gd name="connsiteY350" fmla="*/ 3768913 h 6858000"/>
              <a:gd name="connsiteX351" fmla="*/ 8305128 w 12192000"/>
              <a:gd name="connsiteY351" fmla="*/ 3720870 h 6858000"/>
              <a:gd name="connsiteX352" fmla="*/ 8435643 w 12192000"/>
              <a:gd name="connsiteY352" fmla="*/ 3720870 h 6858000"/>
              <a:gd name="connsiteX353" fmla="*/ 8452458 w 12192000"/>
              <a:gd name="connsiteY353" fmla="*/ 3768913 h 6858000"/>
              <a:gd name="connsiteX354" fmla="*/ 8549344 w 12192000"/>
              <a:gd name="connsiteY354" fmla="*/ 3768913 h 6858000"/>
              <a:gd name="connsiteX355" fmla="*/ 8423633 w 12192000"/>
              <a:gd name="connsiteY355" fmla="*/ 3437419 h 6858000"/>
              <a:gd name="connsiteX356" fmla="*/ 9502190 w 12192000"/>
              <a:gd name="connsiteY356" fmla="*/ 3434216 h 6858000"/>
              <a:gd name="connsiteX357" fmla="*/ 9373275 w 12192000"/>
              <a:gd name="connsiteY357" fmla="*/ 3482259 h 6858000"/>
              <a:gd name="connsiteX358" fmla="*/ 9322030 w 12192000"/>
              <a:gd name="connsiteY358" fmla="*/ 3606369 h 6858000"/>
              <a:gd name="connsiteX359" fmla="*/ 9373275 w 12192000"/>
              <a:gd name="connsiteY359" fmla="*/ 3729678 h 6858000"/>
              <a:gd name="connsiteX360" fmla="*/ 9501389 w 12192000"/>
              <a:gd name="connsiteY360" fmla="*/ 3777721 h 6858000"/>
              <a:gd name="connsiteX361" fmla="*/ 9592670 w 12192000"/>
              <a:gd name="connsiteY361" fmla="*/ 3749696 h 6858000"/>
              <a:gd name="connsiteX362" fmla="*/ 9647118 w 12192000"/>
              <a:gd name="connsiteY362" fmla="*/ 3686440 h 6858000"/>
              <a:gd name="connsiteX363" fmla="*/ 9573453 w 12192000"/>
              <a:gd name="connsiteY363" fmla="*/ 3652009 h 6858000"/>
              <a:gd name="connsiteX364" fmla="*/ 9545428 w 12192000"/>
              <a:gd name="connsiteY364" fmla="*/ 3686440 h 6858000"/>
              <a:gd name="connsiteX365" fmla="*/ 9502190 w 12192000"/>
              <a:gd name="connsiteY365" fmla="*/ 3700052 h 6858000"/>
              <a:gd name="connsiteX366" fmla="*/ 9435731 w 12192000"/>
              <a:gd name="connsiteY366" fmla="*/ 3672827 h 6858000"/>
              <a:gd name="connsiteX367" fmla="*/ 9409307 w 12192000"/>
              <a:gd name="connsiteY367" fmla="*/ 3604767 h 6858000"/>
              <a:gd name="connsiteX368" fmla="*/ 9435731 w 12192000"/>
              <a:gd name="connsiteY368" fmla="*/ 3536707 h 6858000"/>
              <a:gd name="connsiteX369" fmla="*/ 9502190 w 12192000"/>
              <a:gd name="connsiteY369" fmla="*/ 3509483 h 6858000"/>
              <a:gd name="connsiteX370" fmla="*/ 9545428 w 12192000"/>
              <a:gd name="connsiteY370" fmla="*/ 3523095 h 6858000"/>
              <a:gd name="connsiteX371" fmla="*/ 9573453 w 12192000"/>
              <a:gd name="connsiteY371" fmla="*/ 3557525 h 6858000"/>
              <a:gd name="connsiteX372" fmla="*/ 9647118 w 12192000"/>
              <a:gd name="connsiteY372" fmla="*/ 3523095 h 6858000"/>
              <a:gd name="connsiteX373" fmla="*/ 9502190 w 12192000"/>
              <a:gd name="connsiteY373" fmla="*/ 3434216 h 6858000"/>
              <a:gd name="connsiteX374" fmla="*/ 9212332 w 12192000"/>
              <a:gd name="connsiteY374" fmla="*/ 3416601 h 6858000"/>
              <a:gd name="connsiteX375" fmla="*/ 9212332 w 12192000"/>
              <a:gd name="connsiteY375" fmla="*/ 3431814 h 6858000"/>
              <a:gd name="connsiteX376" fmla="*/ 9265980 w 12192000"/>
              <a:gd name="connsiteY376" fmla="*/ 3472651 h 6858000"/>
              <a:gd name="connsiteX377" fmla="*/ 9259574 w 12192000"/>
              <a:gd name="connsiteY377" fmla="*/ 3447829 h 6858000"/>
              <a:gd name="connsiteX378" fmla="*/ 9254770 w 12192000"/>
              <a:gd name="connsiteY378" fmla="*/ 3444626 h 6858000"/>
              <a:gd name="connsiteX379" fmla="*/ 9212332 w 12192000"/>
              <a:gd name="connsiteY379" fmla="*/ 3416601 h 6858000"/>
              <a:gd name="connsiteX380" fmla="*/ 9213934 w 12192000"/>
              <a:gd name="connsiteY380" fmla="*/ 3384572 h 6858000"/>
              <a:gd name="connsiteX381" fmla="*/ 9211532 w 12192000"/>
              <a:gd name="connsiteY381" fmla="*/ 3386974 h 6858000"/>
              <a:gd name="connsiteX382" fmla="*/ 9212332 w 12192000"/>
              <a:gd name="connsiteY382" fmla="*/ 3392579 h 6858000"/>
              <a:gd name="connsiteX383" fmla="*/ 9213934 w 12192000"/>
              <a:gd name="connsiteY383" fmla="*/ 3396583 h 6858000"/>
              <a:gd name="connsiteX384" fmla="*/ 9210731 w 12192000"/>
              <a:gd name="connsiteY384" fmla="*/ 3406191 h 6858000"/>
              <a:gd name="connsiteX385" fmla="*/ 9258774 w 12192000"/>
              <a:gd name="connsiteY385" fmla="*/ 3443024 h 6858000"/>
              <a:gd name="connsiteX386" fmla="*/ 9257973 w 12192000"/>
              <a:gd name="connsiteY386" fmla="*/ 3414999 h 6858000"/>
              <a:gd name="connsiteX387" fmla="*/ 9258774 w 12192000"/>
              <a:gd name="connsiteY387" fmla="*/ 3414198 h 6858000"/>
              <a:gd name="connsiteX388" fmla="*/ 9254770 w 12192000"/>
              <a:gd name="connsiteY388" fmla="*/ 3411796 h 6858000"/>
              <a:gd name="connsiteX389" fmla="*/ 9213934 w 12192000"/>
              <a:gd name="connsiteY389" fmla="*/ 3384572 h 6858000"/>
              <a:gd name="connsiteX390" fmla="*/ 9235553 w 12192000"/>
              <a:gd name="connsiteY390" fmla="*/ 3382971 h 6858000"/>
              <a:gd name="connsiteX391" fmla="*/ 9222742 w 12192000"/>
              <a:gd name="connsiteY391" fmla="*/ 3383772 h 6858000"/>
              <a:gd name="connsiteX392" fmla="*/ 9261176 w 12192000"/>
              <a:gd name="connsiteY392" fmla="*/ 3411797 h 6858000"/>
              <a:gd name="connsiteX393" fmla="*/ 9260375 w 12192000"/>
              <a:gd name="connsiteY393" fmla="*/ 3409394 h 6858000"/>
              <a:gd name="connsiteX394" fmla="*/ 9256372 w 12192000"/>
              <a:gd name="connsiteY394" fmla="*/ 3397384 h 6858000"/>
              <a:gd name="connsiteX395" fmla="*/ 9257973 w 12192000"/>
              <a:gd name="connsiteY395" fmla="*/ 3393380 h 6858000"/>
              <a:gd name="connsiteX396" fmla="*/ 9258774 w 12192000"/>
              <a:gd name="connsiteY396" fmla="*/ 3387775 h 6858000"/>
              <a:gd name="connsiteX397" fmla="*/ 9253169 w 12192000"/>
              <a:gd name="connsiteY397" fmla="*/ 3383772 h 6858000"/>
              <a:gd name="connsiteX398" fmla="*/ 9235553 w 12192000"/>
              <a:gd name="connsiteY398" fmla="*/ 3382971 h 6858000"/>
              <a:gd name="connsiteX399" fmla="*/ 7439561 w 12192000"/>
              <a:gd name="connsiteY399" fmla="*/ 3322117 h 6858000"/>
              <a:gd name="connsiteX400" fmla="*/ 7439561 w 12192000"/>
              <a:gd name="connsiteY400" fmla="*/ 3347740 h 6858000"/>
              <a:gd name="connsiteX401" fmla="*/ 7270611 w 12192000"/>
              <a:gd name="connsiteY401" fmla="*/ 3536707 h 6858000"/>
              <a:gd name="connsiteX402" fmla="*/ 7279419 w 12192000"/>
              <a:gd name="connsiteY402" fmla="*/ 3543113 h 6858000"/>
              <a:gd name="connsiteX403" fmla="*/ 7339472 w 12192000"/>
              <a:gd name="connsiteY403" fmla="*/ 3583949 h 6858000"/>
              <a:gd name="connsiteX404" fmla="*/ 7465984 w 12192000"/>
              <a:gd name="connsiteY404" fmla="*/ 3655212 h 6858000"/>
              <a:gd name="connsiteX405" fmla="*/ 7734222 w 12192000"/>
              <a:gd name="connsiteY405" fmla="*/ 3757703 h 6858000"/>
              <a:gd name="connsiteX406" fmla="*/ 8016072 w 12192000"/>
              <a:gd name="connsiteY406" fmla="*/ 3798539 h 6858000"/>
              <a:gd name="connsiteX407" fmla="*/ 8051303 w 12192000"/>
              <a:gd name="connsiteY407" fmla="*/ 3799340 h 6858000"/>
              <a:gd name="connsiteX408" fmla="*/ 8086534 w 12192000"/>
              <a:gd name="connsiteY408" fmla="*/ 3798539 h 6858000"/>
              <a:gd name="connsiteX409" fmla="*/ 8099346 w 12192000"/>
              <a:gd name="connsiteY409" fmla="*/ 3798539 h 6858000"/>
              <a:gd name="connsiteX410" fmla="*/ 8179417 w 12192000"/>
              <a:gd name="connsiteY410" fmla="*/ 3584750 h 6858000"/>
              <a:gd name="connsiteX411" fmla="*/ 8171410 w 12192000"/>
              <a:gd name="connsiteY411" fmla="*/ 3584750 h 6858000"/>
              <a:gd name="connsiteX412" fmla="*/ 8153794 w 12192000"/>
              <a:gd name="connsiteY412" fmla="*/ 3584750 h 6858000"/>
              <a:gd name="connsiteX413" fmla="*/ 8136178 w 12192000"/>
              <a:gd name="connsiteY413" fmla="*/ 3583949 h 6858000"/>
              <a:gd name="connsiteX414" fmla="*/ 8100947 w 12192000"/>
              <a:gd name="connsiteY414" fmla="*/ 3582348 h 6858000"/>
              <a:gd name="connsiteX415" fmla="*/ 8065716 w 12192000"/>
              <a:gd name="connsiteY415" fmla="*/ 3579145 h 6858000"/>
              <a:gd name="connsiteX416" fmla="*/ 7926392 w 12192000"/>
              <a:gd name="connsiteY416" fmla="*/ 3556725 h 6858000"/>
              <a:gd name="connsiteX417" fmla="*/ 7791072 w 12192000"/>
              <a:gd name="connsiteY417" fmla="*/ 3517490 h 6858000"/>
              <a:gd name="connsiteX418" fmla="*/ 7539650 w 12192000"/>
              <a:gd name="connsiteY418" fmla="*/ 3394181 h 6858000"/>
              <a:gd name="connsiteX419" fmla="*/ 7439561 w 12192000"/>
              <a:gd name="connsiteY419" fmla="*/ 3322117 h 6858000"/>
              <a:gd name="connsiteX420" fmla="*/ 8122214 w 12192000"/>
              <a:gd name="connsiteY420" fmla="*/ 3038898 h 6858000"/>
              <a:gd name="connsiteX421" fmla="*/ 8098545 w 12192000"/>
              <a:gd name="connsiteY421" fmla="*/ 3044270 h 6858000"/>
              <a:gd name="connsiteX422" fmla="*/ 7890360 w 12192000"/>
              <a:gd name="connsiteY422" fmla="*/ 3058683 h 6858000"/>
              <a:gd name="connsiteX423" fmla="*/ 7674969 w 12192000"/>
              <a:gd name="connsiteY423" fmla="*/ 3119537 h 6858000"/>
              <a:gd name="connsiteX424" fmla="*/ 7548457 w 12192000"/>
              <a:gd name="connsiteY424" fmla="*/ 3169181 h 6858000"/>
              <a:gd name="connsiteX425" fmla="*/ 7441162 w 12192000"/>
              <a:gd name="connsiteY425" fmla="*/ 3298896 h 6858000"/>
              <a:gd name="connsiteX426" fmla="*/ 7555664 w 12192000"/>
              <a:gd name="connsiteY426" fmla="*/ 3364554 h 6858000"/>
              <a:gd name="connsiteX427" fmla="*/ 7807086 w 12192000"/>
              <a:gd name="connsiteY427" fmla="*/ 3465443 h 6858000"/>
              <a:gd name="connsiteX428" fmla="*/ 7839915 w 12192000"/>
              <a:gd name="connsiteY428" fmla="*/ 3474251 h 6858000"/>
              <a:gd name="connsiteX429" fmla="*/ 7872745 w 12192000"/>
              <a:gd name="connsiteY429" fmla="*/ 3482258 h 6858000"/>
              <a:gd name="connsiteX430" fmla="*/ 7938403 w 12192000"/>
              <a:gd name="connsiteY430" fmla="*/ 3496671 h 6858000"/>
              <a:gd name="connsiteX431" fmla="*/ 8071321 w 12192000"/>
              <a:gd name="connsiteY431" fmla="*/ 3513486 h 6858000"/>
              <a:gd name="connsiteX432" fmla="*/ 8104950 w 12192000"/>
              <a:gd name="connsiteY432" fmla="*/ 3515888 h 6858000"/>
              <a:gd name="connsiteX433" fmla="*/ 8138580 w 12192000"/>
              <a:gd name="connsiteY433" fmla="*/ 3516689 h 6858000"/>
              <a:gd name="connsiteX434" fmla="*/ 8155395 w 12192000"/>
              <a:gd name="connsiteY434" fmla="*/ 3517490 h 6858000"/>
              <a:gd name="connsiteX435" fmla="*/ 8172210 w 12192000"/>
              <a:gd name="connsiteY435" fmla="*/ 3517490 h 6858000"/>
              <a:gd name="connsiteX436" fmla="*/ 8205840 w 12192000"/>
              <a:gd name="connsiteY436" fmla="*/ 3516689 h 6858000"/>
              <a:gd name="connsiteX437" fmla="*/ 8206641 w 12192000"/>
              <a:gd name="connsiteY437" fmla="*/ 3516689 h 6858000"/>
              <a:gd name="connsiteX438" fmla="*/ 8264292 w 12192000"/>
              <a:gd name="connsiteY438" fmla="*/ 3362953 h 6858000"/>
              <a:gd name="connsiteX439" fmla="*/ 8475679 w 12192000"/>
              <a:gd name="connsiteY439" fmla="*/ 3362953 h 6858000"/>
              <a:gd name="connsiteX440" fmla="*/ 8498099 w 12192000"/>
              <a:gd name="connsiteY440" fmla="*/ 3422205 h 6858000"/>
              <a:gd name="connsiteX441" fmla="*/ 8498099 w 12192000"/>
              <a:gd name="connsiteY441" fmla="*/ 3362953 h 6858000"/>
              <a:gd name="connsiteX442" fmla="*/ 8872030 w 12192000"/>
              <a:gd name="connsiteY442" fmla="*/ 3362953 h 6858000"/>
              <a:gd name="connsiteX443" fmla="*/ 8895251 w 12192000"/>
              <a:gd name="connsiteY443" fmla="*/ 3356547 h 6858000"/>
              <a:gd name="connsiteX444" fmla="*/ 8810376 w 12192000"/>
              <a:gd name="connsiteY444" fmla="*/ 3302099 h 6858000"/>
              <a:gd name="connsiteX445" fmla="*/ 8570964 w 12192000"/>
              <a:gd name="connsiteY445" fmla="*/ 3236440 h 6858000"/>
              <a:gd name="connsiteX446" fmla="*/ 8336356 w 12192000"/>
              <a:gd name="connsiteY446" fmla="*/ 3294892 h 6858000"/>
              <a:gd name="connsiteX447" fmla="*/ 8127370 w 12192000"/>
              <a:gd name="connsiteY447" fmla="*/ 3169181 h 6858000"/>
              <a:gd name="connsiteX448" fmla="*/ 8122214 w 12192000"/>
              <a:gd name="connsiteY448" fmla="*/ 3038898 h 6858000"/>
              <a:gd name="connsiteX449" fmla="*/ 2205490 w 12192000"/>
              <a:gd name="connsiteY449" fmla="*/ 1039037 h 6858000"/>
              <a:gd name="connsiteX450" fmla="*/ 2209877 w 12192000"/>
              <a:gd name="connsiteY450" fmla="*/ 1039037 h 6858000"/>
              <a:gd name="connsiteX451" fmla="*/ 2214265 w 12192000"/>
              <a:gd name="connsiteY451" fmla="*/ 1039037 h 6858000"/>
              <a:gd name="connsiteX452" fmla="*/ 2215727 w 12192000"/>
              <a:gd name="connsiteY452" fmla="*/ 1040500 h 6858000"/>
              <a:gd name="connsiteX453" fmla="*/ 2215727 w 12192000"/>
              <a:gd name="connsiteY453" fmla="*/ 1041962 h 6858000"/>
              <a:gd name="connsiteX454" fmla="*/ 2215727 w 12192000"/>
              <a:gd name="connsiteY454" fmla="*/ 1043424 h 6858000"/>
              <a:gd name="connsiteX455" fmla="*/ 2214265 w 12192000"/>
              <a:gd name="connsiteY455" fmla="*/ 1044887 h 6858000"/>
              <a:gd name="connsiteX456" fmla="*/ 2209877 w 12192000"/>
              <a:gd name="connsiteY456" fmla="*/ 1044887 h 6858000"/>
              <a:gd name="connsiteX457" fmla="*/ 2205490 w 12192000"/>
              <a:gd name="connsiteY457" fmla="*/ 1044887 h 6858000"/>
              <a:gd name="connsiteX458" fmla="*/ 2201103 w 12192000"/>
              <a:gd name="connsiteY458" fmla="*/ 1034650 h 6858000"/>
              <a:gd name="connsiteX459" fmla="*/ 2201103 w 12192000"/>
              <a:gd name="connsiteY459" fmla="*/ 1060974 h 6858000"/>
              <a:gd name="connsiteX460" fmla="*/ 2206952 w 12192000"/>
              <a:gd name="connsiteY460" fmla="*/ 1060974 h 6858000"/>
              <a:gd name="connsiteX461" fmla="*/ 2206952 w 12192000"/>
              <a:gd name="connsiteY461" fmla="*/ 1050737 h 6858000"/>
              <a:gd name="connsiteX462" fmla="*/ 2208415 w 12192000"/>
              <a:gd name="connsiteY462" fmla="*/ 1050737 h 6858000"/>
              <a:gd name="connsiteX463" fmla="*/ 2211340 w 12192000"/>
              <a:gd name="connsiteY463" fmla="*/ 1050737 h 6858000"/>
              <a:gd name="connsiteX464" fmla="*/ 2212802 w 12192000"/>
              <a:gd name="connsiteY464" fmla="*/ 1052199 h 6858000"/>
              <a:gd name="connsiteX465" fmla="*/ 2215727 w 12192000"/>
              <a:gd name="connsiteY465" fmla="*/ 1056586 h 6858000"/>
              <a:gd name="connsiteX466" fmla="*/ 2220114 w 12192000"/>
              <a:gd name="connsiteY466" fmla="*/ 1062436 h 6858000"/>
              <a:gd name="connsiteX467" fmla="*/ 2225964 w 12192000"/>
              <a:gd name="connsiteY467" fmla="*/ 1062436 h 6858000"/>
              <a:gd name="connsiteX468" fmla="*/ 2223039 w 12192000"/>
              <a:gd name="connsiteY468" fmla="*/ 1058049 h 6858000"/>
              <a:gd name="connsiteX469" fmla="*/ 2218652 w 12192000"/>
              <a:gd name="connsiteY469" fmla="*/ 1050737 h 6858000"/>
              <a:gd name="connsiteX470" fmla="*/ 2215727 w 12192000"/>
              <a:gd name="connsiteY470" fmla="*/ 1049274 h 6858000"/>
              <a:gd name="connsiteX471" fmla="*/ 2221577 w 12192000"/>
              <a:gd name="connsiteY471" fmla="*/ 1046349 h 6858000"/>
              <a:gd name="connsiteX472" fmla="*/ 2223039 w 12192000"/>
              <a:gd name="connsiteY472" fmla="*/ 1041962 h 6858000"/>
              <a:gd name="connsiteX473" fmla="*/ 2221577 w 12192000"/>
              <a:gd name="connsiteY473" fmla="*/ 1037575 h 6858000"/>
              <a:gd name="connsiteX474" fmla="*/ 2218652 w 12192000"/>
              <a:gd name="connsiteY474" fmla="*/ 1034650 h 6858000"/>
              <a:gd name="connsiteX475" fmla="*/ 2212802 w 12192000"/>
              <a:gd name="connsiteY475" fmla="*/ 1034650 h 6858000"/>
              <a:gd name="connsiteX476" fmla="*/ 2171854 w 12192000"/>
              <a:gd name="connsiteY476" fmla="*/ 1033187 h 6858000"/>
              <a:gd name="connsiteX477" fmla="*/ 2171854 w 12192000"/>
              <a:gd name="connsiteY477" fmla="*/ 1059511 h 6858000"/>
              <a:gd name="connsiteX478" fmla="*/ 2176242 w 12192000"/>
              <a:gd name="connsiteY478" fmla="*/ 1059511 h 6858000"/>
              <a:gd name="connsiteX479" fmla="*/ 2176242 w 12192000"/>
              <a:gd name="connsiteY479" fmla="*/ 1039037 h 6858000"/>
              <a:gd name="connsiteX480" fmla="*/ 2182091 w 12192000"/>
              <a:gd name="connsiteY480" fmla="*/ 1059511 h 6858000"/>
              <a:gd name="connsiteX481" fmla="*/ 2187941 w 12192000"/>
              <a:gd name="connsiteY481" fmla="*/ 1059511 h 6858000"/>
              <a:gd name="connsiteX482" fmla="*/ 2193791 w 12192000"/>
              <a:gd name="connsiteY482" fmla="*/ 1039037 h 6858000"/>
              <a:gd name="connsiteX483" fmla="*/ 2193791 w 12192000"/>
              <a:gd name="connsiteY483" fmla="*/ 1059511 h 6858000"/>
              <a:gd name="connsiteX484" fmla="*/ 2198178 w 12192000"/>
              <a:gd name="connsiteY484" fmla="*/ 1059511 h 6858000"/>
              <a:gd name="connsiteX485" fmla="*/ 2198178 w 12192000"/>
              <a:gd name="connsiteY485" fmla="*/ 1033187 h 6858000"/>
              <a:gd name="connsiteX486" fmla="*/ 2190865 w 12192000"/>
              <a:gd name="connsiteY486" fmla="*/ 1033187 h 6858000"/>
              <a:gd name="connsiteX487" fmla="*/ 2183554 w 12192000"/>
              <a:gd name="connsiteY487" fmla="*/ 1050737 h 6858000"/>
              <a:gd name="connsiteX488" fmla="*/ 2179167 w 12192000"/>
              <a:gd name="connsiteY488" fmla="*/ 1033187 h 6858000"/>
              <a:gd name="connsiteX489" fmla="*/ 1727278 w 12192000"/>
              <a:gd name="connsiteY489" fmla="*/ 873783 h 6858000"/>
              <a:gd name="connsiteX490" fmla="*/ 1737514 w 12192000"/>
              <a:gd name="connsiteY490" fmla="*/ 889870 h 6858000"/>
              <a:gd name="connsiteX491" fmla="*/ 1744826 w 12192000"/>
              <a:gd name="connsiteY491" fmla="*/ 897182 h 6858000"/>
              <a:gd name="connsiteX492" fmla="*/ 1757988 w 12192000"/>
              <a:gd name="connsiteY492" fmla="*/ 904494 h 6858000"/>
              <a:gd name="connsiteX493" fmla="*/ 1778462 w 12192000"/>
              <a:gd name="connsiteY493" fmla="*/ 911806 h 6858000"/>
              <a:gd name="connsiteX494" fmla="*/ 1756526 w 12192000"/>
              <a:gd name="connsiteY494" fmla="*/ 943980 h 6858000"/>
              <a:gd name="connsiteX495" fmla="*/ 1734590 w 12192000"/>
              <a:gd name="connsiteY495" fmla="*/ 971766 h 6858000"/>
              <a:gd name="connsiteX496" fmla="*/ 1715578 w 12192000"/>
              <a:gd name="connsiteY496" fmla="*/ 992240 h 6858000"/>
              <a:gd name="connsiteX497" fmla="*/ 1700954 w 12192000"/>
              <a:gd name="connsiteY497" fmla="*/ 1003939 h 6858000"/>
              <a:gd name="connsiteX498" fmla="*/ 1692179 w 12192000"/>
              <a:gd name="connsiteY498" fmla="*/ 1009789 h 6858000"/>
              <a:gd name="connsiteX499" fmla="*/ 1686330 w 12192000"/>
              <a:gd name="connsiteY499" fmla="*/ 1011251 h 6858000"/>
              <a:gd name="connsiteX500" fmla="*/ 1671704 w 12192000"/>
              <a:gd name="connsiteY500" fmla="*/ 1002477 h 6858000"/>
              <a:gd name="connsiteX501" fmla="*/ 1668781 w 12192000"/>
              <a:gd name="connsiteY501" fmla="*/ 995164 h 6858000"/>
              <a:gd name="connsiteX502" fmla="*/ 1667318 w 12192000"/>
              <a:gd name="connsiteY502" fmla="*/ 976153 h 6858000"/>
              <a:gd name="connsiteX503" fmla="*/ 1670243 w 12192000"/>
              <a:gd name="connsiteY503" fmla="*/ 960066 h 6858000"/>
              <a:gd name="connsiteX504" fmla="*/ 1676093 w 12192000"/>
              <a:gd name="connsiteY504" fmla="*/ 941055 h 6858000"/>
              <a:gd name="connsiteX505" fmla="*/ 1727278 w 12192000"/>
              <a:gd name="connsiteY505" fmla="*/ 873783 h 6858000"/>
              <a:gd name="connsiteX506" fmla="*/ 2126519 w 12192000"/>
              <a:gd name="connsiteY506" fmla="*/ 815286 h 6858000"/>
              <a:gd name="connsiteX507" fmla="*/ 2135294 w 12192000"/>
              <a:gd name="connsiteY507" fmla="*/ 816749 h 6858000"/>
              <a:gd name="connsiteX508" fmla="*/ 2135294 w 12192000"/>
              <a:gd name="connsiteY508" fmla="*/ 828448 h 6858000"/>
              <a:gd name="connsiteX509" fmla="*/ 2130907 w 12192000"/>
              <a:gd name="connsiteY509" fmla="*/ 838685 h 6858000"/>
              <a:gd name="connsiteX510" fmla="*/ 2123594 w 12192000"/>
              <a:gd name="connsiteY510" fmla="*/ 851847 h 6858000"/>
              <a:gd name="connsiteX511" fmla="*/ 2056323 w 12192000"/>
              <a:gd name="connsiteY511" fmla="*/ 957141 h 6858000"/>
              <a:gd name="connsiteX512" fmla="*/ 2035849 w 12192000"/>
              <a:gd name="connsiteY512" fmla="*/ 984927 h 6858000"/>
              <a:gd name="connsiteX513" fmla="*/ 2021225 w 12192000"/>
              <a:gd name="connsiteY513" fmla="*/ 999552 h 6858000"/>
              <a:gd name="connsiteX514" fmla="*/ 2010988 w 12192000"/>
              <a:gd name="connsiteY514" fmla="*/ 1006864 h 6858000"/>
              <a:gd name="connsiteX515" fmla="*/ 1993438 w 12192000"/>
              <a:gd name="connsiteY515" fmla="*/ 1006864 h 6858000"/>
              <a:gd name="connsiteX516" fmla="*/ 1990514 w 12192000"/>
              <a:gd name="connsiteY516" fmla="*/ 992240 h 6858000"/>
              <a:gd name="connsiteX517" fmla="*/ 1991976 w 12192000"/>
              <a:gd name="connsiteY517" fmla="*/ 980540 h 6858000"/>
              <a:gd name="connsiteX518" fmla="*/ 1996363 w 12192000"/>
              <a:gd name="connsiteY518" fmla="*/ 965916 h 6858000"/>
              <a:gd name="connsiteX519" fmla="*/ 2005138 w 12192000"/>
              <a:gd name="connsiteY519" fmla="*/ 946905 h 6858000"/>
              <a:gd name="connsiteX520" fmla="*/ 2019762 w 12192000"/>
              <a:gd name="connsiteY520" fmla="*/ 922043 h 6858000"/>
              <a:gd name="connsiteX521" fmla="*/ 2041699 w 12192000"/>
              <a:gd name="connsiteY521" fmla="*/ 891332 h 6858000"/>
              <a:gd name="connsiteX522" fmla="*/ 2068022 w 12192000"/>
              <a:gd name="connsiteY522" fmla="*/ 860622 h 6858000"/>
              <a:gd name="connsiteX523" fmla="*/ 2092884 w 12192000"/>
              <a:gd name="connsiteY523" fmla="*/ 835760 h 6858000"/>
              <a:gd name="connsiteX524" fmla="*/ 2110433 w 12192000"/>
              <a:gd name="connsiteY524" fmla="*/ 822599 h 6858000"/>
              <a:gd name="connsiteX525" fmla="*/ 2120670 w 12192000"/>
              <a:gd name="connsiteY525" fmla="*/ 816749 h 6858000"/>
              <a:gd name="connsiteX526" fmla="*/ 2126519 w 12192000"/>
              <a:gd name="connsiteY526" fmla="*/ 815286 h 6858000"/>
              <a:gd name="connsiteX527" fmla="*/ 1784312 w 12192000"/>
              <a:gd name="connsiteY527" fmla="*/ 813824 h 6858000"/>
              <a:gd name="connsiteX528" fmla="*/ 1798936 w 12192000"/>
              <a:gd name="connsiteY528" fmla="*/ 818211 h 6858000"/>
              <a:gd name="connsiteX529" fmla="*/ 1803324 w 12192000"/>
              <a:gd name="connsiteY529" fmla="*/ 834298 h 6858000"/>
              <a:gd name="connsiteX530" fmla="*/ 1801861 w 12192000"/>
              <a:gd name="connsiteY530" fmla="*/ 844535 h 6858000"/>
              <a:gd name="connsiteX531" fmla="*/ 1800399 w 12192000"/>
              <a:gd name="connsiteY531" fmla="*/ 854772 h 6858000"/>
              <a:gd name="connsiteX532" fmla="*/ 1796011 w 12192000"/>
              <a:gd name="connsiteY532" fmla="*/ 867934 h 6858000"/>
              <a:gd name="connsiteX533" fmla="*/ 1782850 w 12192000"/>
              <a:gd name="connsiteY533" fmla="*/ 895720 h 6858000"/>
              <a:gd name="connsiteX534" fmla="*/ 1766763 w 12192000"/>
              <a:gd name="connsiteY534" fmla="*/ 889870 h 6858000"/>
              <a:gd name="connsiteX535" fmla="*/ 1757988 w 12192000"/>
              <a:gd name="connsiteY535" fmla="*/ 884020 h 6858000"/>
              <a:gd name="connsiteX536" fmla="*/ 1753601 w 12192000"/>
              <a:gd name="connsiteY536" fmla="*/ 879633 h 6858000"/>
              <a:gd name="connsiteX537" fmla="*/ 1747751 w 12192000"/>
              <a:gd name="connsiteY537" fmla="*/ 869396 h 6858000"/>
              <a:gd name="connsiteX538" fmla="*/ 1766763 w 12192000"/>
              <a:gd name="connsiteY538" fmla="*/ 819674 h 6858000"/>
              <a:gd name="connsiteX539" fmla="*/ 1784312 w 12192000"/>
              <a:gd name="connsiteY539" fmla="*/ 813824 h 6858000"/>
              <a:gd name="connsiteX540" fmla="*/ 797176 w 12192000"/>
              <a:gd name="connsiteY540" fmla="*/ 734853 h 6858000"/>
              <a:gd name="connsiteX541" fmla="*/ 811800 w 12192000"/>
              <a:gd name="connsiteY541" fmla="*/ 753865 h 6858000"/>
              <a:gd name="connsiteX542" fmla="*/ 824962 w 12192000"/>
              <a:gd name="connsiteY542" fmla="*/ 764102 h 6858000"/>
              <a:gd name="connsiteX543" fmla="*/ 843974 w 12192000"/>
              <a:gd name="connsiteY543" fmla="*/ 772876 h 6858000"/>
              <a:gd name="connsiteX544" fmla="*/ 798638 w 12192000"/>
              <a:gd name="connsiteY544" fmla="*/ 835760 h 6858000"/>
              <a:gd name="connsiteX545" fmla="*/ 779627 w 12192000"/>
              <a:gd name="connsiteY545" fmla="*/ 857697 h 6858000"/>
              <a:gd name="connsiteX546" fmla="*/ 770852 w 12192000"/>
              <a:gd name="connsiteY546" fmla="*/ 865009 h 6858000"/>
              <a:gd name="connsiteX547" fmla="*/ 763539 w 12192000"/>
              <a:gd name="connsiteY547" fmla="*/ 869396 h 6858000"/>
              <a:gd name="connsiteX548" fmla="*/ 734292 w 12192000"/>
              <a:gd name="connsiteY548" fmla="*/ 863546 h 6858000"/>
              <a:gd name="connsiteX549" fmla="*/ 731367 w 12192000"/>
              <a:gd name="connsiteY549" fmla="*/ 848922 h 6858000"/>
              <a:gd name="connsiteX550" fmla="*/ 734292 w 12192000"/>
              <a:gd name="connsiteY550" fmla="*/ 834298 h 6858000"/>
              <a:gd name="connsiteX551" fmla="*/ 744529 w 12192000"/>
              <a:gd name="connsiteY551" fmla="*/ 810899 h 6858000"/>
              <a:gd name="connsiteX552" fmla="*/ 765003 w 12192000"/>
              <a:gd name="connsiteY552" fmla="*/ 775801 h 6858000"/>
              <a:gd name="connsiteX553" fmla="*/ 797176 w 12192000"/>
              <a:gd name="connsiteY553" fmla="*/ 734853 h 6858000"/>
              <a:gd name="connsiteX554" fmla="*/ 1227129 w 12192000"/>
              <a:gd name="connsiteY554" fmla="*/ 679281 h 6858000"/>
              <a:gd name="connsiteX555" fmla="*/ 1238828 w 12192000"/>
              <a:gd name="connsiteY555" fmla="*/ 679281 h 6858000"/>
              <a:gd name="connsiteX556" fmla="*/ 1241753 w 12192000"/>
              <a:gd name="connsiteY556" fmla="*/ 695368 h 6858000"/>
              <a:gd name="connsiteX557" fmla="*/ 1237366 w 12192000"/>
              <a:gd name="connsiteY557" fmla="*/ 702680 h 6858000"/>
              <a:gd name="connsiteX558" fmla="*/ 1224204 w 12192000"/>
              <a:gd name="connsiteY558" fmla="*/ 724616 h 6858000"/>
              <a:gd name="connsiteX559" fmla="*/ 1165707 w 12192000"/>
              <a:gd name="connsiteY559" fmla="*/ 824061 h 6858000"/>
              <a:gd name="connsiteX560" fmla="*/ 1151083 w 12192000"/>
              <a:gd name="connsiteY560" fmla="*/ 844535 h 6858000"/>
              <a:gd name="connsiteX561" fmla="*/ 1139383 w 12192000"/>
              <a:gd name="connsiteY561" fmla="*/ 857697 h 6858000"/>
              <a:gd name="connsiteX562" fmla="*/ 1130609 w 12192000"/>
              <a:gd name="connsiteY562" fmla="*/ 865009 h 6858000"/>
              <a:gd name="connsiteX563" fmla="*/ 1120372 w 12192000"/>
              <a:gd name="connsiteY563" fmla="*/ 870858 h 6858000"/>
              <a:gd name="connsiteX564" fmla="*/ 1105747 w 12192000"/>
              <a:gd name="connsiteY564" fmla="*/ 866471 h 6858000"/>
              <a:gd name="connsiteX565" fmla="*/ 1101360 w 12192000"/>
              <a:gd name="connsiteY565" fmla="*/ 851847 h 6858000"/>
              <a:gd name="connsiteX566" fmla="*/ 1102823 w 12192000"/>
              <a:gd name="connsiteY566" fmla="*/ 841610 h 6858000"/>
              <a:gd name="connsiteX567" fmla="*/ 1108672 w 12192000"/>
              <a:gd name="connsiteY567" fmla="*/ 825523 h 6858000"/>
              <a:gd name="connsiteX568" fmla="*/ 1121834 w 12192000"/>
              <a:gd name="connsiteY568" fmla="*/ 799200 h 6858000"/>
              <a:gd name="connsiteX569" fmla="*/ 1145233 w 12192000"/>
              <a:gd name="connsiteY569" fmla="*/ 762639 h 6858000"/>
              <a:gd name="connsiteX570" fmla="*/ 1175944 w 12192000"/>
              <a:gd name="connsiteY570" fmla="*/ 724616 h 6858000"/>
              <a:gd name="connsiteX571" fmla="*/ 1202266 w 12192000"/>
              <a:gd name="connsiteY571" fmla="*/ 696830 h 6858000"/>
              <a:gd name="connsiteX572" fmla="*/ 1218354 w 12192000"/>
              <a:gd name="connsiteY572" fmla="*/ 683668 h 6858000"/>
              <a:gd name="connsiteX573" fmla="*/ 1227129 w 12192000"/>
              <a:gd name="connsiteY573" fmla="*/ 679281 h 6858000"/>
              <a:gd name="connsiteX574" fmla="*/ 851834 w 12192000"/>
              <a:gd name="connsiteY574" fmla="*/ 677453 h 6858000"/>
              <a:gd name="connsiteX575" fmla="*/ 862985 w 12192000"/>
              <a:gd name="connsiteY575" fmla="*/ 680743 h 6858000"/>
              <a:gd name="connsiteX576" fmla="*/ 870297 w 12192000"/>
              <a:gd name="connsiteY576" fmla="*/ 707067 h 6858000"/>
              <a:gd name="connsiteX577" fmla="*/ 868835 w 12192000"/>
              <a:gd name="connsiteY577" fmla="*/ 717304 h 6858000"/>
              <a:gd name="connsiteX578" fmla="*/ 864447 w 12192000"/>
              <a:gd name="connsiteY578" fmla="*/ 730466 h 6858000"/>
              <a:gd name="connsiteX579" fmla="*/ 852748 w 12192000"/>
              <a:gd name="connsiteY579" fmla="*/ 753865 h 6858000"/>
              <a:gd name="connsiteX580" fmla="*/ 836661 w 12192000"/>
              <a:gd name="connsiteY580" fmla="*/ 748015 h 6858000"/>
              <a:gd name="connsiteX581" fmla="*/ 826424 w 12192000"/>
              <a:gd name="connsiteY581" fmla="*/ 742165 h 6858000"/>
              <a:gd name="connsiteX582" fmla="*/ 820575 w 12192000"/>
              <a:gd name="connsiteY582" fmla="*/ 736316 h 6858000"/>
              <a:gd name="connsiteX583" fmla="*/ 816187 w 12192000"/>
              <a:gd name="connsiteY583" fmla="*/ 731928 h 6858000"/>
              <a:gd name="connsiteX584" fmla="*/ 823500 w 12192000"/>
              <a:gd name="connsiteY584" fmla="*/ 690980 h 6858000"/>
              <a:gd name="connsiteX585" fmla="*/ 830812 w 12192000"/>
              <a:gd name="connsiteY585" fmla="*/ 685131 h 6858000"/>
              <a:gd name="connsiteX586" fmla="*/ 839586 w 12192000"/>
              <a:gd name="connsiteY586" fmla="*/ 680743 h 6858000"/>
              <a:gd name="connsiteX587" fmla="*/ 851834 w 12192000"/>
              <a:gd name="connsiteY587" fmla="*/ 677453 h 6858000"/>
              <a:gd name="connsiteX588" fmla="*/ 1374833 w 12192000"/>
              <a:gd name="connsiteY588" fmla="*/ 650033 h 6858000"/>
              <a:gd name="connsiteX589" fmla="*/ 1347047 w 12192000"/>
              <a:gd name="connsiteY589" fmla="*/ 701217 h 6858000"/>
              <a:gd name="connsiteX590" fmla="*/ 1401157 w 12192000"/>
              <a:gd name="connsiteY590" fmla="*/ 701217 h 6858000"/>
              <a:gd name="connsiteX591" fmla="*/ 1430405 w 12192000"/>
              <a:gd name="connsiteY591" fmla="*/ 650033 h 6858000"/>
              <a:gd name="connsiteX592" fmla="*/ 1061875 w 12192000"/>
              <a:gd name="connsiteY592" fmla="*/ 647108 h 6858000"/>
              <a:gd name="connsiteX593" fmla="*/ 1047250 w 12192000"/>
              <a:gd name="connsiteY593" fmla="*/ 648570 h 6858000"/>
              <a:gd name="connsiteX594" fmla="*/ 1029701 w 12192000"/>
              <a:gd name="connsiteY594" fmla="*/ 654420 h 6858000"/>
              <a:gd name="connsiteX595" fmla="*/ 1003378 w 12192000"/>
              <a:gd name="connsiteY595" fmla="*/ 670507 h 6858000"/>
              <a:gd name="connsiteX596" fmla="*/ 956580 w 12192000"/>
              <a:gd name="connsiteY596" fmla="*/ 711454 h 6858000"/>
              <a:gd name="connsiteX597" fmla="*/ 921482 w 12192000"/>
              <a:gd name="connsiteY597" fmla="*/ 737778 h 6858000"/>
              <a:gd name="connsiteX598" fmla="*/ 896621 w 12192000"/>
              <a:gd name="connsiteY598" fmla="*/ 750940 h 6858000"/>
              <a:gd name="connsiteX599" fmla="*/ 874684 w 12192000"/>
              <a:gd name="connsiteY599" fmla="*/ 758252 h 6858000"/>
              <a:gd name="connsiteX600" fmla="*/ 886384 w 12192000"/>
              <a:gd name="connsiteY600" fmla="*/ 729003 h 6858000"/>
              <a:gd name="connsiteX601" fmla="*/ 893696 w 12192000"/>
              <a:gd name="connsiteY601" fmla="*/ 707067 h 6858000"/>
              <a:gd name="connsiteX602" fmla="*/ 896621 w 12192000"/>
              <a:gd name="connsiteY602" fmla="*/ 693905 h 6858000"/>
              <a:gd name="connsiteX603" fmla="*/ 893696 w 12192000"/>
              <a:gd name="connsiteY603" fmla="*/ 671969 h 6858000"/>
              <a:gd name="connsiteX604" fmla="*/ 889309 w 12192000"/>
              <a:gd name="connsiteY604" fmla="*/ 664657 h 6858000"/>
              <a:gd name="connsiteX605" fmla="*/ 876147 w 12192000"/>
              <a:gd name="connsiteY605" fmla="*/ 654420 h 6858000"/>
              <a:gd name="connsiteX606" fmla="*/ 841049 w 12192000"/>
              <a:gd name="connsiteY606" fmla="*/ 652957 h 6858000"/>
              <a:gd name="connsiteX607" fmla="*/ 819112 w 12192000"/>
              <a:gd name="connsiteY607" fmla="*/ 661732 h 6858000"/>
              <a:gd name="connsiteX608" fmla="*/ 789864 w 12192000"/>
              <a:gd name="connsiteY608" fmla="*/ 679281 h 6858000"/>
              <a:gd name="connsiteX609" fmla="*/ 756228 w 12192000"/>
              <a:gd name="connsiteY609" fmla="*/ 707067 h 6858000"/>
              <a:gd name="connsiteX610" fmla="*/ 722592 w 12192000"/>
              <a:gd name="connsiteY610" fmla="*/ 743628 h 6858000"/>
              <a:gd name="connsiteX611" fmla="*/ 677257 w 12192000"/>
              <a:gd name="connsiteY611" fmla="*/ 818211 h 6858000"/>
              <a:gd name="connsiteX612" fmla="*/ 667020 w 12192000"/>
              <a:gd name="connsiteY612" fmla="*/ 848922 h 6858000"/>
              <a:gd name="connsiteX613" fmla="*/ 659708 w 12192000"/>
              <a:gd name="connsiteY613" fmla="*/ 870858 h 6858000"/>
              <a:gd name="connsiteX614" fmla="*/ 659708 w 12192000"/>
              <a:gd name="connsiteY614" fmla="*/ 886945 h 6858000"/>
              <a:gd name="connsiteX615" fmla="*/ 662633 w 12192000"/>
              <a:gd name="connsiteY615" fmla="*/ 898645 h 6858000"/>
              <a:gd name="connsiteX616" fmla="*/ 667020 w 12192000"/>
              <a:gd name="connsiteY616" fmla="*/ 908882 h 6858000"/>
              <a:gd name="connsiteX617" fmla="*/ 674332 w 12192000"/>
              <a:gd name="connsiteY617" fmla="*/ 916194 h 6858000"/>
              <a:gd name="connsiteX618" fmla="*/ 684569 w 12192000"/>
              <a:gd name="connsiteY618" fmla="*/ 920581 h 6858000"/>
              <a:gd name="connsiteX619" fmla="*/ 697731 w 12192000"/>
              <a:gd name="connsiteY619" fmla="*/ 922043 h 6858000"/>
              <a:gd name="connsiteX620" fmla="*/ 713817 w 12192000"/>
              <a:gd name="connsiteY620" fmla="*/ 920581 h 6858000"/>
              <a:gd name="connsiteX621" fmla="*/ 731367 w 12192000"/>
              <a:gd name="connsiteY621" fmla="*/ 914731 h 6858000"/>
              <a:gd name="connsiteX622" fmla="*/ 751841 w 12192000"/>
              <a:gd name="connsiteY622" fmla="*/ 903032 h 6858000"/>
              <a:gd name="connsiteX623" fmla="*/ 778164 w 12192000"/>
              <a:gd name="connsiteY623" fmla="*/ 881095 h 6858000"/>
              <a:gd name="connsiteX624" fmla="*/ 813263 w 12192000"/>
              <a:gd name="connsiteY624" fmla="*/ 840148 h 6858000"/>
              <a:gd name="connsiteX625" fmla="*/ 860060 w 12192000"/>
              <a:gd name="connsiteY625" fmla="*/ 772876 h 6858000"/>
              <a:gd name="connsiteX626" fmla="*/ 899546 w 12192000"/>
              <a:gd name="connsiteY626" fmla="*/ 764102 h 6858000"/>
              <a:gd name="connsiteX627" fmla="*/ 870297 w 12192000"/>
              <a:gd name="connsiteY627" fmla="*/ 821136 h 6858000"/>
              <a:gd name="connsiteX628" fmla="*/ 861523 w 12192000"/>
              <a:gd name="connsiteY628" fmla="*/ 847460 h 6858000"/>
              <a:gd name="connsiteX629" fmla="*/ 864447 w 12192000"/>
              <a:gd name="connsiteY629" fmla="*/ 904494 h 6858000"/>
              <a:gd name="connsiteX630" fmla="*/ 874684 w 12192000"/>
              <a:gd name="connsiteY630" fmla="*/ 917656 h 6858000"/>
              <a:gd name="connsiteX631" fmla="*/ 890771 w 12192000"/>
              <a:gd name="connsiteY631" fmla="*/ 926431 h 6858000"/>
              <a:gd name="connsiteX632" fmla="*/ 911245 w 12192000"/>
              <a:gd name="connsiteY632" fmla="*/ 929355 h 6858000"/>
              <a:gd name="connsiteX633" fmla="*/ 966817 w 12192000"/>
              <a:gd name="connsiteY633" fmla="*/ 911806 h 6858000"/>
              <a:gd name="connsiteX634" fmla="*/ 993141 w 12192000"/>
              <a:gd name="connsiteY634" fmla="*/ 891332 h 6858000"/>
              <a:gd name="connsiteX635" fmla="*/ 1032626 w 12192000"/>
              <a:gd name="connsiteY635" fmla="*/ 851847 h 6858000"/>
              <a:gd name="connsiteX636" fmla="*/ 1031164 w 12192000"/>
              <a:gd name="connsiteY636" fmla="*/ 885483 h 6858000"/>
              <a:gd name="connsiteX637" fmla="*/ 1032626 w 12192000"/>
              <a:gd name="connsiteY637" fmla="*/ 900107 h 6858000"/>
              <a:gd name="connsiteX638" fmla="*/ 1034089 w 12192000"/>
              <a:gd name="connsiteY638" fmla="*/ 907419 h 6858000"/>
              <a:gd name="connsiteX639" fmla="*/ 1037012 w 12192000"/>
              <a:gd name="connsiteY639" fmla="*/ 911806 h 6858000"/>
              <a:gd name="connsiteX640" fmla="*/ 1048713 w 12192000"/>
              <a:gd name="connsiteY640" fmla="*/ 920581 h 6858000"/>
              <a:gd name="connsiteX641" fmla="*/ 1089661 w 12192000"/>
              <a:gd name="connsiteY641" fmla="*/ 916194 h 6858000"/>
              <a:gd name="connsiteX642" fmla="*/ 1108672 w 12192000"/>
              <a:gd name="connsiteY642" fmla="*/ 904494 h 6858000"/>
              <a:gd name="connsiteX643" fmla="*/ 1134996 w 12192000"/>
              <a:gd name="connsiteY643" fmla="*/ 882558 h 6858000"/>
              <a:gd name="connsiteX644" fmla="*/ 1134996 w 12192000"/>
              <a:gd name="connsiteY644" fmla="*/ 897182 h 6858000"/>
              <a:gd name="connsiteX645" fmla="*/ 1136458 w 12192000"/>
              <a:gd name="connsiteY645" fmla="*/ 905957 h 6858000"/>
              <a:gd name="connsiteX646" fmla="*/ 1139383 w 12192000"/>
              <a:gd name="connsiteY646" fmla="*/ 914731 h 6858000"/>
              <a:gd name="connsiteX647" fmla="*/ 1156932 w 12192000"/>
              <a:gd name="connsiteY647" fmla="*/ 923506 h 6858000"/>
              <a:gd name="connsiteX648" fmla="*/ 1167169 w 12192000"/>
              <a:gd name="connsiteY648" fmla="*/ 923506 h 6858000"/>
              <a:gd name="connsiteX649" fmla="*/ 1211042 w 12192000"/>
              <a:gd name="connsiteY649" fmla="*/ 907419 h 6858000"/>
              <a:gd name="connsiteX650" fmla="*/ 1238828 w 12192000"/>
              <a:gd name="connsiteY650" fmla="*/ 884020 h 6858000"/>
              <a:gd name="connsiteX651" fmla="*/ 1272464 w 12192000"/>
              <a:gd name="connsiteY651" fmla="*/ 844535 h 6858000"/>
              <a:gd name="connsiteX652" fmla="*/ 1307562 w 12192000"/>
              <a:gd name="connsiteY652" fmla="*/ 788963 h 6858000"/>
              <a:gd name="connsiteX653" fmla="*/ 1297325 w 12192000"/>
              <a:gd name="connsiteY653" fmla="*/ 786038 h 6858000"/>
              <a:gd name="connsiteX654" fmla="*/ 1256377 w 12192000"/>
              <a:gd name="connsiteY654" fmla="*/ 837223 h 6858000"/>
              <a:gd name="connsiteX655" fmla="*/ 1238828 w 12192000"/>
              <a:gd name="connsiteY655" fmla="*/ 856234 h 6858000"/>
              <a:gd name="connsiteX656" fmla="*/ 1231516 w 12192000"/>
              <a:gd name="connsiteY656" fmla="*/ 862084 h 6858000"/>
              <a:gd name="connsiteX657" fmla="*/ 1219816 w 12192000"/>
              <a:gd name="connsiteY657" fmla="*/ 865009 h 6858000"/>
              <a:gd name="connsiteX658" fmla="*/ 1213967 w 12192000"/>
              <a:gd name="connsiteY658" fmla="*/ 859159 h 6858000"/>
              <a:gd name="connsiteX659" fmla="*/ 1215429 w 12192000"/>
              <a:gd name="connsiteY659" fmla="*/ 851847 h 6858000"/>
              <a:gd name="connsiteX660" fmla="*/ 1224204 w 12192000"/>
              <a:gd name="connsiteY660" fmla="*/ 834298 h 6858000"/>
              <a:gd name="connsiteX661" fmla="*/ 1247602 w 12192000"/>
              <a:gd name="connsiteY661" fmla="*/ 788963 h 6858000"/>
              <a:gd name="connsiteX662" fmla="*/ 1329498 w 12192000"/>
              <a:gd name="connsiteY662" fmla="*/ 650033 h 6858000"/>
              <a:gd name="connsiteX663" fmla="*/ 1278313 w 12192000"/>
              <a:gd name="connsiteY663" fmla="*/ 650033 h 6858000"/>
              <a:gd name="connsiteX664" fmla="*/ 1268076 w 12192000"/>
              <a:gd name="connsiteY664" fmla="*/ 661732 h 6858000"/>
              <a:gd name="connsiteX665" fmla="*/ 1249065 w 12192000"/>
              <a:gd name="connsiteY665" fmla="*/ 651495 h 6858000"/>
              <a:gd name="connsiteX666" fmla="*/ 1237366 w 12192000"/>
              <a:gd name="connsiteY666" fmla="*/ 648570 h 6858000"/>
              <a:gd name="connsiteX667" fmla="*/ 1227129 w 12192000"/>
              <a:gd name="connsiteY667" fmla="*/ 647108 h 6858000"/>
              <a:gd name="connsiteX668" fmla="*/ 1187643 w 12192000"/>
              <a:gd name="connsiteY668" fmla="*/ 658807 h 6858000"/>
              <a:gd name="connsiteX669" fmla="*/ 1167169 w 12192000"/>
              <a:gd name="connsiteY669" fmla="*/ 673431 h 6858000"/>
              <a:gd name="connsiteX670" fmla="*/ 1130609 w 12192000"/>
              <a:gd name="connsiteY670" fmla="*/ 708530 h 6858000"/>
              <a:gd name="connsiteX671" fmla="*/ 1063337 w 12192000"/>
              <a:gd name="connsiteY671" fmla="*/ 787500 h 6858000"/>
              <a:gd name="connsiteX672" fmla="*/ 1010690 w 12192000"/>
              <a:gd name="connsiteY672" fmla="*/ 847460 h 6858000"/>
              <a:gd name="connsiteX673" fmla="*/ 984365 w 12192000"/>
              <a:gd name="connsiteY673" fmla="*/ 870858 h 6858000"/>
              <a:gd name="connsiteX674" fmla="*/ 969742 w 12192000"/>
              <a:gd name="connsiteY674" fmla="*/ 879633 h 6858000"/>
              <a:gd name="connsiteX675" fmla="*/ 960967 w 12192000"/>
              <a:gd name="connsiteY675" fmla="*/ 885483 h 6858000"/>
              <a:gd name="connsiteX676" fmla="*/ 936106 w 12192000"/>
              <a:gd name="connsiteY676" fmla="*/ 882558 h 6858000"/>
              <a:gd name="connsiteX677" fmla="*/ 930257 w 12192000"/>
              <a:gd name="connsiteY677" fmla="*/ 872321 h 6858000"/>
              <a:gd name="connsiteX678" fmla="*/ 931719 w 12192000"/>
              <a:gd name="connsiteY678" fmla="*/ 844535 h 6858000"/>
              <a:gd name="connsiteX679" fmla="*/ 937569 w 12192000"/>
              <a:gd name="connsiteY679" fmla="*/ 825523 h 6858000"/>
              <a:gd name="connsiteX680" fmla="*/ 949268 w 12192000"/>
              <a:gd name="connsiteY680" fmla="*/ 800662 h 6858000"/>
              <a:gd name="connsiteX681" fmla="*/ 968280 w 12192000"/>
              <a:gd name="connsiteY681" fmla="*/ 768489 h 6858000"/>
              <a:gd name="connsiteX682" fmla="*/ 1023852 w 12192000"/>
              <a:gd name="connsiteY682" fmla="*/ 702680 h 6858000"/>
              <a:gd name="connsiteX683" fmla="*/ 1045788 w 12192000"/>
              <a:gd name="connsiteY683" fmla="*/ 685131 h 6858000"/>
              <a:gd name="connsiteX684" fmla="*/ 1057487 w 12192000"/>
              <a:gd name="connsiteY684" fmla="*/ 677819 h 6858000"/>
              <a:gd name="connsiteX685" fmla="*/ 1064799 w 12192000"/>
              <a:gd name="connsiteY685" fmla="*/ 676356 h 6858000"/>
              <a:gd name="connsiteX686" fmla="*/ 1072112 w 12192000"/>
              <a:gd name="connsiteY686" fmla="*/ 679281 h 6858000"/>
              <a:gd name="connsiteX687" fmla="*/ 1076499 w 12192000"/>
              <a:gd name="connsiteY687" fmla="*/ 688056 h 6858000"/>
              <a:gd name="connsiteX688" fmla="*/ 1076499 w 12192000"/>
              <a:gd name="connsiteY688" fmla="*/ 695368 h 6858000"/>
              <a:gd name="connsiteX689" fmla="*/ 1063337 w 12192000"/>
              <a:gd name="connsiteY689" fmla="*/ 698293 h 6858000"/>
              <a:gd name="connsiteX690" fmla="*/ 1054562 w 12192000"/>
              <a:gd name="connsiteY690" fmla="*/ 702680 h 6858000"/>
              <a:gd name="connsiteX691" fmla="*/ 1048713 w 12192000"/>
              <a:gd name="connsiteY691" fmla="*/ 707067 h 6858000"/>
              <a:gd name="connsiteX692" fmla="*/ 1035551 w 12192000"/>
              <a:gd name="connsiteY692" fmla="*/ 734853 h 6858000"/>
              <a:gd name="connsiteX693" fmla="*/ 1041401 w 12192000"/>
              <a:gd name="connsiteY693" fmla="*/ 745090 h 6858000"/>
              <a:gd name="connsiteX694" fmla="*/ 1075036 w 12192000"/>
              <a:gd name="connsiteY694" fmla="*/ 733391 h 6858000"/>
              <a:gd name="connsiteX695" fmla="*/ 1080886 w 12192000"/>
              <a:gd name="connsiteY695" fmla="*/ 724616 h 6858000"/>
              <a:gd name="connsiteX696" fmla="*/ 1094048 w 12192000"/>
              <a:gd name="connsiteY696" fmla="*/ 695368 h 6858000"/>
              <a:gd name="connsiteX697" fmla="*/ 1080886 w 12192000"/>
              <a:gd name="connsiteY697" fmla="*/ 652957 h 6858000"/>
              <a:gd name="connsiteX698" fmla="*/ 1061875 w 12192000"/>
              <a:gd name="connsiteY698" fmla="*/ 647108 h 6858000"/>
              <a:gd name="connsiteX699" fmla="*/ 1771150 w 12192000"/>
              <a:gd name="connsiteY699" fmla="*/ 552050 h 6858000"/>
              <a:gd name="connsiteX700" fmla="*/ 1765301 w 12192000"/>
              <a:gd name="connsiteY700" fmla="*/ 584224 h 6858000"/>
              <a:gd name="connsiteX701" fmla="*/ 1752139 w 12192000"/>
              <a:gd name="connsiteY701" fmla="*/ 622247 h 6858000"/>
              <a:gd name="connsiteX702" fmla="*/ 1736052 w 12192000"/>
              <a:gd name="connsiteY702" fmla="*/ 657345 h 6858000"/>
              <a:gd name="connsiteX703" fmla="*/ 1719965 w 12192000"/>
              <a:gd name="connsiteY703" fmla="*/ 682206 h 6858000"/>
              <a:gd name="connsiteX704" fmla="*/ 1684867 w 12192000"/>
              <a:gd name="connsiteY704" fmla="*/ 712917 h 6858000"/>
              <a:gd name="connsiteX705" fmla="*/ 1652694 w 12192000"/>
              <a:gd name="connsiteY705" fmla="*/ 712917 h 6858000"/>
              <a:gd name="connsiteX706" fmla="*/ 1646843 w 12192000"/>
              <a:gd name="connsiteY706" fmla="*/ 704142 h 6858000"/>
              <a:gd name="connsiteX707" fmla="*/ 1652694 w 12192000"/>
              <a:gd name="connsiteY707" fmla="*/ 670507 h 6858000"/>
              <a:gd name="connsiteX708" fmla="*/ 1661468 w 12192000"/>
              <a:gd name="connsiteY708" fmla="*/ 652957 h 6858000"/>
              <a:gd name="connsiteX709" fmla="*/ 1676093 w 12192000"/>
              <a:gd name="connsiteY709" fmla="*/ 632484 h 6858000"/>
              <a:gd name="connsiteX710" fmla="*/ 1699491 w 12192000"/>
              <a:gd name="connsiteY710" fmla="*/ 607622 h 6858000"/>
              <a:gd name="connsiteX711" fmla="*/ 1733127 w 12192000"/>
              <a:gd name="connsiteY711" fmla="*/ 578374 h 6858000"/>
              <a:gd name="connsiteX712" fmla="*/ 1771150 w 12192000"/>
              <a:gd name="connsiteY712" fmla="*/ 552050 h 6858000"/>
              <a:gd name="connsiteX713" fmla="*/ 2182091 w 12192000"/>
              <a:gd name="connsiteY713" fmla="*/ 509640 h 6858000"/>
              <a:gd name="connsiteX714" fmla="*/ 2151380 w 12192000"/>
              <a:gd name="connsiteY714" fmla="*/ 511102 h 6858000"/>
              <a:gd name="connsiteX715" fmla="*/ 2122132 w 12192000"/>
              <a:gd name="connsiteY715" fmla="*/ 522802 h 6858000"/>
              <a:gd name="connsiteX716" fmla="*/ 2082645 w 12192000"/>
              <a:gd name="connsiteY716" fmla="*/ 549125 h 6858000"/>
              <a:gd name="connsiteX717" fmla="*/ 2028537 w 12192000"/>
              <a:gd name="connsiteY717" fmla="*/ 600310 h 6858000"/>
              <a:gd name="connsiteX718" fmla="*/ 1961265 w 12192000"/>
              <a:gd name="connsiteY718" fmla="*/ 680743 h 6858000"/>
              <a:gd name="connsiteX719" fmla="*/ 1889607 w 12192000"/>
              <a:gd name="connsiteY719" fmla="*/ 784576 h 6858000"/>
              <a:gd name="connsiteX720" fmla="*/ 1828185 w 12192000"/>
              <a:gd name="connsiteY720" fmla="*/ 897182 h 6858000"/>
              <a:gd name="connsiteX721" fmla="*/ 1801861 w 12192000"/>
              <a:gd name="connsiteY721" fmla="*/ 897182 h 6858000"/>
              <a:gd name="connsiteX722" fmla="*/ 1815023 w 12192000"/>
              <a:gd name="connsiteY722" fmla="*/ 867934 h 6858000"/>
              <a:gd name="connsiteX723" fmla="*/ 1820873 w 12192000"/>
              <a:gd name="connsiteY723" fmla="*/ 850385 h 6858000"/>
              <a:gd name="connsiteX724" fmla="*/ 1819410 w 12192000"/>
              <a:gd name="connsiteY724" fmla="*/ 810899 h 6858000"/>
              <a:gd name="connsiteX725" fmla="*/ 1813561 w 12192000"/>
              <a:gd name="connsiteY725" fmla="*/ 802125 h 6858000"/>
              <a:gd name="connsiteX726" fmla="*/ 1787237 w 12192000"/>
              <a:gd name="connsiteY726" fmla="*/ 790425 h 6858000"/>
              <a:gd name="connsiteX727" fmla="*/ 1772613 w 12192000"/>
              <a:gd name="connsiteY727" fmla="*/ 793350 h 6858000"/>
              <a:gd name="connsiteX728" fmla="*/ 1752139 w 12192000"/>
              <a:gd name="connsiteY728" fmla="*/ 800662 h 6858000"/>
              <a:gd name="connsiteX729" fmla="*/ 1727278 w 12192000"/>
              <a:gd name="connsiteY729" fmla="*/ 815286 h 6858000"/>
              <a:gd name="connsiteX730" fmla="*/ 1696567 w 12192000"/>
              <a:gd name="connsiteY730" fmla="*/ 841610 h 6858000"/>
              <a:gd name="connsiteX731" fmla="*/ 1662931 w 12192000"/>
              <a:gd name="connsiteY731" fmla="*/ 878171 h 6858000"/>
              <a:gd name="connsiteX732" fmla="*/ 1611746 w 12192000"/>
              <a:gd name="connsiteY732" fmla="*/ 960066 h 6858000"/>
              <a:gd name="connsiteX733" fmla="*/ 1600047 w 12192000"/>
              <a:gd name="connsiteY733" fmla="*/ 992240 h 6858000"/>
              <a:gd name="connsiteX734" fmla="*/ 1595659 w 12192000"/>
              <a:gd name="connsiteY734" fmla="*/ 1017101 h 6858000"/>
              <a:gd name="connsiteX735" fmla="*/ 1595659 w 12192000"/>
              <a:gd name="connsiteY735" fmla="*/ 1034650 h 6858000"/>
              <a:gd name="connsiteX736" fmla="*/ 1600047 w 12192000"/>
              <a:gd name="connsiteY736" fmla="*/ 1049274 h 6858000"/>
              <a:gd name="connsiteX737" fmla="*/ 1608821 w 12192000"/>
              <a:gd name="connsiteY737" fmla="*/ 1059511 h 6858000"/>
              <a:gd name="connsiteX738" fmla="*/ 1620521 w 12192000"/>
              <a:gd name="connsiteY738" fmla="*/ 1066823 h 6858000"/>
              <a:gd name="connsiteX739" fmla="*/ 1635145 w 12192000"/>
              <a:gd name="connsiteY739" fmla="*/ 1069748 h 6858000"/>
              <a:gd name="connsiteX740" fmla="*/ 1667318 w 12192000"/>
              <a:gd name="connsiteY740" fmla="*/ 1060974 h 6858000"/>
              <a:gd name="connsiteX741" fmla="*/ 1689255 w 12192000"/>
              <a:gd name="connsiteY741" fmla="*/ 1047812 h 6858000"/>
              <a:gd name="connsiteX742" fmla="*/ 1717040 w 12192000"/>
              <a:gd name="connsiteY742" fmla="*/ 1022951 h 6858000"/>
              <a:gd name="connsiteX743" fmla="*/ 1752139 w 12192000"/>
              <a:gd name="connsiteY743" fmla="*/ 980540 h 6858000"/>
              <a:gd name="connsiteX744" fmla="*/ 1794549 w 12192000"/>
              <a:gd name="connsiteY744" fmla="*/ 917656 h 6858000"/>
              <a:gd name="connsiteX745" fmla="*/ 1820873 w 12192000"/>
              <a:gd name="connsiteY745" fmla="*/ 917656 h 6858000"/>
              <a:gd name="connsiteX746" fmla="*/ 1798936 w 12192000"/>
              <a:gd name="connsiteY746" fmla="*/ 977615 h 6858000"/>
              <a:gd name="connsiteX747" fmla="*/ 1791624 w 12192000"/>
              <a:gd name="connsiteY747" fmla="*/ 1003939 h 6858000"/>
              <a:gd name="connsiteX748" fmla="*/ 1788699 w 12192000"/>
              <a:gd name="connsiteY748" fmla="*/ 1034650 h 6858000"/>
              <a:gd name="connsiteX749" fmla="*/ 1791624 w 12192000"/>
              <a:gd name="connsiteY749" fmla="*/ 1046349 h 6858000"/>
              <a:gd name="connsiteX750" fmla="*/ 1796011 w 12192000"/>
              <a:gd name="connsiteY750" fmla="*/ 1056586 h 6858000"/>
              <a:gd name="connsiteX751" fmla="*/ 1803324 w 12192000"/>
              <a:gd name="connsiteY751" fmla="*/ 1063898 h 6858000"/>
              <a:gd name="connsiteX752" fmla="*/ 1813561 w 12192000"/>
              <a:gd name="connsiteY752" fmla="*/ 1068286 h 6858000"/>
              <a:gd name="connsiteX753" fmla="*/ 1825260 w 12192000"/>
              <a:gd name="connsiteY753" fmla="*/ 1069748 h 6858000"/>
              <a:gd name="connsiteX754" fmla="*/ 1870594 w 12192000"/>
              <a:gd name="connsiteY754" fmla="*/ 1053661 h 6858000"/>
              <a:gd name="connsiteX755" fmla="*/ 1892530 w 12192000"/>
              <a:gd name="connsiteY755" fmla="*/ 1034650 h 6858000"/>
              <a:gd name="connsiteX756" fmla="*/ 1921780 w 12192000"/>
              <a:gd name="connsiteY756" fmla="*/ 1003939 h 6858000"/>
              <a:gd name="connsiteX757" fmla="*/ 1920316 w 12192000"/>
              <a:gd name="connsiteY757" fmla="*/ 1024413 h 6858000"/>
              <a:gd name="connsiteX758" fmla="*/ 1921780 w 12192000"/>
              <a:gd name="connsiteY758" fmla="*/ 1039037 h 6858000"/>
              <a:gd name="connsiteX759" fmla="*/ 1924705 w 12192000"/>
              <a:gd name="connsiteY759" fmla="*/ 1047812 h 6858000"/>
              <a:gd name="connsiteX760" fmla="*/ 1927630 w 12192000"/>
              <a:gd name="connsiteY760" fmla="*/ 1055124 h 6858000"/>
              <a:gd name="connsiteX761" fmla="*/ 1934942 w 12192000"/>
              <a:gd name="connsiteY761" fmla="*/ 1063898 h 6858000"/>
              <a:gd name="connsiteX762" fmla="*/ 1951028 w 12192000"/>
              <a:gd name="connsiteY762" fmla="*/ 1068286 h 6858000"/>
              <a:gd name="connsiteX763" fmla="*/ 1961265 w 12192000"/>
              <a:gd name="connsiteY763" fmla="*/ 1066823 h 6858000"/>
              <a:gd name="connsiteX764" fmla="*/ 1984664 w 12192000"/>
              <a:gd name="connsiteY764" fmla="*/ 1058049 h 6858000"/>
              <a:gd name="connsiteX765" fmla="*/ 2000751 w 12192000"/>
              <a:gd name="connsiteY765" fmla="*/ 1044887 h 6858000"/>
              <a:gd name="connsiteX766" fmla="*/ 2025612 w 12192000"/>
              <a:gd name="connsiteY766" fmla="*/ 1021488 h 6858000"/>
              <a:gd name="connsiteX767" fmla="*/ 2024150 w 12192000"/>
              <a:gd name="connsiteY767" fmla="*/ 1039037 h 6858000"/>
              <a:gd name="connsiteX768" fmla="*/ 2025612 w 12192000"/>
              <a:gd name="connsiteY768" fmla="*/ 1049274 h 6858000"/>
              <a:gd name="connsiteX769" fmla="*/ 2027074 w 12192000"/>
              <a:gd name="connsiteY769" fmla="*/ 1056586 h 6858000"/>
              <a:gd name="connsiteX770" fmla="*/ 2038774 w 12192000"/>
              <a:gd name="connsiteY770" fmla="*/ 1068286 h 6858000"/>
              <a:gd name="connsiteX771" fmla="*/ 2081184 w 12192000"/>
              <a:gd name="connsiteY771" fmla="*/ 1060974 h 6858000"/>
              <a:gd name="connsiteX772" fmla="*/ 2101658 w 12192000"/>
              <a:gd name="connsiteY772" fmla="*/ 1047812 h 6858000"/>
              <a:gd name="connsiteX773" fmla="*/ 2127982 w 12192000"/>
              <a:gd name="connsiteY773" fmla="*/ 1024413 h 6858000"/>
              <a:gd name="connsiteX774" fmla="*/ 2160154 w 12192000"/>
              <a:gd name="connsiteY774" fmla="*/ 984927 h 6858000"/>
              <a:gd name="connsiteX775" fmla="*/ 2195253 w 12192000"/>
              <a:gd name="connsiteY775" fmla="*/ 929355 h 6858000"/>
              <a:gd name="connsiteX776" fmla="*/ 2182091 w 12192000"/>
              <a:gd name="connsiteY776" fmla="*/ 929355 h 6858000"/>
              <a:gd name="connsiteX777" fmla="*/ 2152843 w 12192000"/>
              <a:gd name="connsiteY777" fmla="*/ 965916 h 6858000"/>
              <a:gd name="connsiteX778" fmla="*/ 2132368 w 12192000"/>
              <a:gd name="connsiteY778" fmla="*/ 987852 h 6858000"/>
              <a:gd name="connsiteX779" fmla="*/ 2120670 w 12192000"/>
              <a:gd name="connsiteY779" fmla="*/ 998089 h 6858000"/>
              <a:gd name="connsiteX780" fmla="*/ 2113357 w 12192000"/>
              <a:gd name="connsiteY780" fmla="*/ 1003939 h 6858000"/>
              <a:gd name="connsiteX781" fmla="*/ 2101658 w 12192000"/>
              <a:gd name="connsiteY781" fmla="*/ 1006864 h 6858000"/>
              <a:gd name="connsiteX782" fmla="*/ 2097271 w 12192000"/>
              <a:gd name="connsiteY782" fmla="*/ 999552 h 6858000"/>
              <a:gd name="connsiteX783" fmla="*/ 2101658 w 12192000"/>
              <a:gd name="connsiteY783" fmla="*/ 989315 h 6858000"/>
              <a:gd name="connsiteX784" fmla="*/ 2122132 w 12192000"/>
              <a:gd name="connsiteY784" fmla="*/ 949829 h 6858000"/>
              <a:gd name="connsiteX785" fmla="*/ 2218652 w 12192000"/>
              <a:gd name="connsiteY785" fmla="*/ 786038 h 6858000"/>
              <a:gd name="connsiteX786" fmla="*/ 2171854 w 12192000"/>
              <a:gd name="connsiteY786" fmla="*/ 786038 h 6858000"/>
              <a:gd name="connsiteX787" fmla="*/ 2155768 w 12192000"/>
              <a:gd name="connsiteY787" fmla="*/ 800662 h 6858000"/>
              <a:gd name="connsiteX788" fmla="*/ 2139681 w 12192000"/>
              <a:gd name="connsiteY788" fmla="*/ 790425 h 6858000"/>
              <a:gd name="connsiteX789" fmla="*/ 2129444 w 12192000"/>
              <a:gd name="connsiteY789" fmla="*/ 787500 h 6858000"/>
              <a:gd name="connsiteX790" fmla="*/ 2120670 w 12192000"/>
              <a:gd name="connsiteY790" fmla="*/ 786038 h 6858000"/>
              <a:gd name="connsiteX791" fmla="*/ 2070947 w 12192000"/>
              <a:gd name="connsiteY791" fmla="*/ 802125 h 6858000"/>
              <a:gd name="connsiteX792" fmla="*/ 2053398 w 12192000"/>
              <a:gd name="connsiteY792" fmla="*/ 813824 h 6858000"/>
              <a:gd name="connsiteX793" fmla="*/ 2031462 w 12192000"/>
              <a:gd name="connsiteY793" fmla="*/ 832835 h 6858000"/>
              <a:gd name="connsiteX794" fmla="*/ 1996363 w 12192000"/>
              <a:gd name="connsiteY794" fmla="*/ 872321 h 6858000"/>
              <a:gd name="connsiteX795" fmla="*/ 1936404 w 12192000"/>
              <a:gd name="connsiteY795" fmla="*/ 951292 h 6858000"/>
              <a:gd name="connsiteX796" fmla="*/ 1901306 w 12192000"/>
              <a:gd name="connsiteY796" fmla="*/ 995164 h 6858000"/>
              <a:gd name="connsiteX797" fmla="*/ 1888144 w 12192000"/>
              <a:gd name="connsiteY797" fmla="*/ 1008326 h 6858000"/>
              <a:gd name="connsiteX798" fmla="*/ 1880832 w 12192000"/>
              <a:gd name="connsiteY798" fmla="*/ 1012714 h 6858000"/>
              <a:gd name="connsiteX799" fmla="*/ 1873520 w 12192000"/>
              <a:gd name="connsiteY799" fmla="*/ 1014176 h 6858000"/>
              <a:gd name="connsiteX800" fmla="*/ 1863283 w 12192000"/>
              <a:gd name="connsiteY800" fmla="*/ 1002477 h 6858000"/>
              <a:gd name="connsiteX801" fmla="*/ 1866208 w 12192000"/>
              <a:gd name="connsiteY801" fmla="*/ 977615 h 6858000"/>
              <a:gd name="connsiteX802" fmla="*/ 1876445 w 12192000"/>
              <a:gd name="connsiteY802" fmla="*/ 943980 h 6858000"/>
              <a:gd name="connsiteX803" fmla="*/ 1893994 w 12192000"/>
              <a:gd name="connsiteY803" fmla="*/ 894257 h 6858000"/>
              <a:gd name="connsiteX804" fmla="*/ 1993438 w 12192000"/>
              <a:gd name="connsiteY804" fmla="*/ 822599 h 6858000"/>
              <a:gd name="connsiteX805" fmla="*/ 2059248 w 12192000"/>
              <a:gd name="connsiteY805" fmla="*/ 758252 h 6858000"/>
              <a:gd name="connsiteX806" fmla="*/ 2117745 w 12192000"/>
              <a:gd name="connsiteY806" fmla="*/ 679281 h 6858000"/>
              <a:gd name="connsiteX807" fmla="*/ 2095808 w 12192000"/>
              <a:gd name="connsiteY807" fmla="*/ 682206 h 6858000"/>
              <a:gd name="connsiteX808" fmla="*/ 2049011 w 12192000"/>
              <a:gd name="connsiteY808" fmla="*/ 742165 h 6858000"/>
              <a:gd name="connsiteX809" fmla="*/ 1987589 w 12192000"/>
              <a:gd name="connsiteY809" fmla="*/ 803587 h 6858000"/>
              <a:gd name="connsiteX810" fmla="*/ 1914468 w 12192000"/>
              <a:gd name="connsiteY810" fmla="*/ 860622 h 6858000"/>
              <a:gd name="connsiteX811" fmla="*/ 1965652 w 12192000"/>
              <a:gd name="connsiteY811" fmla="*/ 769951 h 6858000"/>
              <a:gd name="connsiteX812" fmla="*/ 2021225 w 12192000"/>
              <a:gd name="connsiteY812" fmla="*/ 685131 h 6858000"/>
              <a:gd name="connsiteX813" fmla="*/ 2075334 w 12192000"/>
              <a:gd name="connsiteY813" fmla="*/ 614934 h 6858000"/>
              <a:gd name="connsiteX814" fmla="*/ 2119207 w 12192000"/>
              <a:gd name="connsiteY814" fmla="*/ 568137 h 6858000"/>
              <a:gd name="connsiteX815" fmla="*/ 2148456 w 12192000"/>
              <a:gd name="connsiteY815" fmla="*/ 543276 h 6858000"/>
              <a:gd name="connsiteX816" fmla="*/ 2164542 w 12192000"/>
              <a:gd name="connsiteY816" fmla="*/ 533039 h 6858000"/>
              <a:gd name="connsiteX817" fmla="*/ 2173317 w 12192000"/>
              <a:gd name="connsiteY817" fmla="*/ 530114 h 6858000"/>
              <a:gd name="connsiteX818" fmla="*/ 2177704 w 12192000"/>
              <a:gd name="connsiteY818" fmla="*/ 531576 h 6858000"/>
              <a:gd name="connsiteX819" fmla="*/ 2180629 w 12192000"/>
              <a:gd name="connsiteY819" fmla="*/ 543276 h 6858000"/>
              <a:gd name="connsiteX820" fmla="*/ 2177704 w 12192000"/>
              <a:gd name="connsiteY820" fmla="*/ 552050 h 6858000"/>
              <a:gd name="connsiteX821" fmla="*/ 2167467 w 12192000"/>
              <a:gd name="connsiteY821" fmla="*/ 576911 h 6858000"/>
              <a:gd name="connsiteX822" fmla="*/ 2186479 w 12192000"/>
              <a:gd name="connsiteY822" fmla="*/ 573987 h 6858000"/>
              <a:gd name="connsiteX823" fmla="*/ 2195253 w 12192000"/>
              <a:gd name="connsiteY823" fmla="*/ 557900 h 6858000"/>
              <a:gd name="connsiteX824" fmla="*/ 2198178 w 12192000"/>
              <a:gd name="connsiteY824" fmla="*/ 549125 h 6858000"/>
              <a:gd name="connsiteX825" fmla="*/ 2199640 w 12192000"/>
              <a:gd name="connsiteY825" fmla="*/ 540351 h 6858000"/>
              <a:gd name="connsiteX826" fmla="*/ 2189403 w 12192000"/>
              <a:gd name="connsiteY826" fmla="*/ 514027 h 6858000"/>
              <a:gd name="connsiteX827" fmla="*/ 2182091 w 12192000"/>
              <a:gd name="connsiteY827" fmla="*/ 509640 h 6858000"/>
              <a:gd name="connsiteX828" fmla="*/ 2318097 w 12192000"/>
              <a:gd name="connsiteY828" fmla="*/ 508178 h 6858000"/>
              <a:gd name="connsiteX829" fmla="*/ 2244976 w 12192000"/>
              <a:gd name="connsiteY829" fmla="*/ 560825 h 6858000"/>
              <a:gd name="connsiteX830" fmla="*/ 2177704 w 12192000"/>
              <a:gd name="connsiteY830" fmla="*/ 590073 h 6858000"/>
              <a:gd name="connsiteX831" fmla="*/ 2100196 w 12192000"/>
              <a:gd name="connsiteY831" fmla="*/ 598848 h 6858000"/>
              <a:gd name="connsiteX832" fmla="*/ 2051936 w 12192000"/>
              <a:gd name="connsiteY832" fmla="*/ 657345 h 6858000"/>
              <a:gd name="connsiteX833" fmla="*/ 2063635 w 12192000"/>
              <a:gd name="connsiteY833" fmla="*/ 658807 h 6858000"/>
              <a:gd name="connsiteX834" fmla="*/ 2087034 w 12192000"/>
              <a:gd name="connsiteY834" fmla="*/ 660270 h 6858000"/>
              <a:gd name="connsiteX835" fmla="*/ 2139681 w 12192000"/>
              <a:gd name="connsiteY835" fmla="*/ 652957 h 6858000"/>
              <a:gd name="connsiteX836" fmla="*/ 2250825 w 12192000"/>
              <a:gd name="connsiteY836" fmla="*/ 594461 h 6858000"/>
              <a:gd name="connsiteX837" fmla="*/ 2291773 w 12192000"/>
              <a:gd name="connsiteY837" fmla="*/ 552050 h 6858000"/>
              <a:gd name="connsiteX838" fmla="*/ 2318097 w 12192000"/>
              <a:gd name="connsiteY838" fmla="*/ 508178 h 6858000"/>
              <a:gd name="connsiteX839" fmla="*/ 851286 w 12192000"/>
              <a:gd name="connsiteY839" fmla="*/ 505253 h 6858000"/>
              <a:gd name="connsiteX840" fmla="*/ 819112 w 12192000"/>
              <a:gd name="connsiteY840" fmla="*/ 509640 h 6858000"/>
              <a:gd name="connsiteX841" fmla="*/ 776702 w 12192000"/>
              <a:gd name="connsiteY841" fmla="*/ 524264 h 6858000"/>
              <a:gd name="connsiteX842" fmla="*/ 724055 w 12192000"/>
              <a:gd name="connsiteY842" fmla="*/ 553513 h 6858000"/>
              <a:gd name="connsiteX843" fmla="*/ 661171 w 12192000"/>
              <a:gd name="connsiteY843" fmla="*/ 601773 h 6858000"/>
              <a:gd name="connsiteX844" fmla="*/ 595361 w 12192000"/>
              <a:gd name="connsiteY844" fmla="*/ 669044 h 6858000"/>
              <a:gd name="connsiteX845" fmla="*/ 500303 w 12192000"/>
              <a:gd name="connsiteY845" fmla="*/ 813824 h 6858000"/>
              <a:gd name="connsiteX846" fmla="*/ 478367 w 12192000"/>
              <a:gd name="connsiteY846" fmla="*/ 870858 h 6858000"/>
              <a:gd name="connsiteX847" fmla="*/ 469592 w 12192000"/>
              <a:gd name="connsiteY847" fmla="*/ 916194 h 6858000"/>
              <a:gd name="connsiteX848" fmla="*/ 473980 w 12192000"/>
              <a:gd name="connsiteY848" fmla="*/ 974691 h 6858000"/>
              <a:gd name="connsiteX849" fmla="*/ 479830 w 12192000"/>
              <a:gd name="connsiteY849" fmla="*/ 995164 h 6858000"/>
              <a:gd name="connsiteX850" fmla="*/ 488605 w 12192000"/>
              <a:gd name="connsiteY850" fmla="*/ 1012714 h 6858000"/>
              <a:gd name="connsiteX851" fmla="*/ 500303 w 12192000"/>
              <a:gd name="connsiteY851" fmla="*/ 1028800 h 6858000"/>
              <a:gd name="connsiteX852" fmla="*/ 516391 w 12192000"/>
              <a:gd name="connsiteY852" fmla="*/ 1041962 h 6858000"/>
              <a:gd name="connsiteX853" fmla="*/ 539788 w 12192000"/>
              <a:gd name="connsiteY853" fmla="*/ 1053661 h 6858000"/>
              <a:gd name="connsiteX854" fmla="*/ 571963 w 12192000"/>
              <a:gd name="connsiteY854" fmla="*/ 1062436 h 6858000"/>
              <a:gd name="connsiteX855" fmla="*/ 615835 w 12192000"/>
              <a:gd name="connsiteY855" fmla="*/ 1065361 h 6858000"/>
              <a:gd name="connsiteX856" fmla="*/ 705043 w 12192000"/>
              <a:gd name="connsiteY856" fmla="*/ 1055124 h 6858000"/>
              <a:gd name="connsiteX857" fmla="*/ 845436 w 12192000"/>
              <a:gd name="connsiteY857" fmla="*/ 1021488 h 6858000"/>
              <a:gd name="connsiteX858" fmla="*/ 936106 w 12192000"/>
              <a:gd name="connsiteY858" fmla="*/ 1011251 h 6858000"/>
              <a:gd name="connsiteX859" fmla="*/ 978517 w 12192000"/>
              <a:gd name="connsiteY859" fmla="*/ 1014176 h 6858000"/>
              <a:gd name="connsiteX860" fmla="*/ 1009226 w 12192000"/>
              <a:gd name="connsiteY860" fmla="*/ 1022951 h 6858000"/>
              <a:gd name="connsiteX861" fmla="*/ 1034089 w 12192000"/>
              <a:gd name="connsiteY861" fmla="*/ 1039037 h 6858000"/>
              <a:gd name="connsiteX862" fmla="*/ 1060412 w 12192000"/>
              <a:gd name="connsiteY862" fmla="*/ 1065361 h 6858000"/>
              <a:gd name="connsiteX863" fmla="*/ 1134996 w 12192000"/>
              <a:gd name="connsiteY863" fmla="*/ 1033187 h 6858000"/>
              <a:gd name="connsiteX864" fmla="*/ 1164244 w 12192000"/>
              <a:gd name="connsiteY864" fmla="*/ 1030263 h 6858000"/>
              <a:gd name="connsiteX865" fmla="*/ 1177406 w 12192000"/>
              <a:gd name="connsiteY865" fmla="*/ 1031725 h 6858000"/>
              <a:gd name="connsiteX866" fmla="*/ 1202266 w 12192000"/>
              <a:gd name="connsiteY866" fmla="*/ 1037575 h 6858000"/>
              <a:gd name="connsiteX867" fmla="*/ 1265152 w 12192000"/>
              <a:gd name="connsiteY867" fmla="*/ 1060974 h 6858000"/>
              <a:gd name="connsiteX868" fmla="*/ 1192030 w 12192000"/>
              <a:gd name="connsiteY868" fmla="*/ 1005401 h 6858000"/>
              <a:gd name="connsiteX869" fmla="*/ 1121834 w 12192000"/>
              <a:gd name="connsiteY869" fmla="*/ 977615 h 6858000"/>
              <a:gd name="connsiteX870" fmla="*/ 1035551 w 12192000"/>
              <a:gd name="connsiteY870" fmla="*/ 968841 h 6858000"/>
              <a:gd name="connsiteX871" fmla="*/ 931719 w 12192000"/>
              <a:gd name="connsiteY871" fmla="*/ 980540 h 6858000"/>
              <a:gd name="connsiteX872" fmla="*/ 763539 w 12192000"/>
              <a:gd name="connsiteY872" fmla="*/ 1024413 h 6858000"/>
              <a:gd name="connsiteX873" fmla="*/ 669945 w 12192000"/>
              <a:gd name="connsiteY873" fmla="*/ 1039037 h 6858000"/>
              <a:gd name="connsiteX874" fmla="*/ 637772 w 12192000"/>
              <a:gd name="connsiteY874" fmla="*/ 1036112 h 6858000"/>
              <a:gd name="connsiteX875" fmla="*/ 611448 w 12192000"/>
              <a:gd name="connsiteY875" fmla="*/ 1028800 h 6858000"/>
              <a:gd name="connsiteX876" fmla="*/ 592437 w 12192000"/>
              <a:gd name="connsiteY876" fmla="*/ 1018563 h 6858000"/>
              <a:gd name="connsiteX877" fmla="*/ 577812 w 12192000"/>
              <a:gd name="connsiteY877" fmla="*/ 1005401 h 6858000"/>
              <a:gd name="connsiteX878" fmla="*/ 567574 w 12192000"/>
              <a:gd name="connsiteY878" fmla="*/ 989315 h 6858000"/>
              <a:gd name="connsiteX879" fmla="*/ 560263 w 12192000"/>
              <a:gd name="connsiteY879" fmla="*/ 971766 h 6858000"/>
              <a:gd name="connsiteX880" fmla="*/ 557338 w 12192000"/>
              <a:gd name="connsiteY880" fmla="*/ 949829 h 6858000"/>
              <a:gd name="connsiteX881" fmla="*/ 557338 w 12192000"/>
              <a:gd name="connsiteY881" fmla="*/ 926431 h 6858000"/>
              <a:gd name="connsiteX882" fmla="*/ 566113 w 12192000"/>
              <a:gd name="connsiteY882" fmla="*/ 885483 h 6858000"/>
              <a:gd name="connsiteX883" fmla="*/ 590974 w 12192000"/>
              <a:gd name="connsiteY883" fmla="*/ 822599 h 6858000"/>
              <a:gd name="connsiteX884" fmla="*/ 637772 w 12192000"/>
              <a:gd name="connsiteY884" fmla="*/ 739240 h 6858000"/>
              <a:gd name="connsiteX885" fmla="*/ 696268 w 12192000"/>
              <a:gd name="connsiteY885" fmla="*/ 655882 h 6858000"/>
              <a:gd name="connsiteX886" fmla="*/ 750378 w 12192000"/>
              <a:gd name="connsiteY886" fmla="*/ 595923 h 6858000"/>
              <a:gd name="connsiteX887" fmla="*/ 792789 w 12192000"/>
              <a:gd name="connsiteY887" fmla="*/ 559362 h 6858000"/>
              <a:gd name="connsiteX888" fmla="*/ 823500 w 12192000"/>
              <a:gd name="connsiteY888" fmla="*/ 540351 h 6858000"/>
              <a:gd name="connsiteX889" fmla="*/ 846898 w 12192000"/>
              <a:gd name="connsiteY889" fmla="*/ 531576 h 6858000"/>
              <a:gd name="connsiteX890" fmla="*/ 865910 w 12192000"/>
              <a:gd name="connsiteY890" fmla="*/ 528651 h 6858000"/>
              <a:gd name="connsiteX891" fmla="*/ 876147 w 12192000"/>
              <a:gd name="connsiteY891" fmla="*/ 531576 h 6858000"/>
              <a:gd name="connsiteX892" fmla="*/ 879072 w 12192000"/>
              <a:gd name="connsiteY892" fmla="*/ 541813 h 6858000"/>
              <a:gd name="connsiteX893" fmla="*/ 879072 w 12192000"/>
              <a:gd name="connsiteY893" fmla="*/ 549125 h 6858000"/>
              <a:gd name="connsiteX894" fmla="*/ 852748 w 12192000"/>
              <a:gd name="connsiteY894" fmla="*/ 566674 h 6858000"/>
              <a:gd name="connsiteX895" fmla="*/ 843974 w 12192000"/>
              <a:gd name="connsiteY895" fmla="*/ 575449 h 6858000"/>
              <a:gd name="connsiteX896" fmla="*/ 833737 w 12192000"/>
              <a:gd name="connsiteY896" fmla="*/ 594461 h 6858000"/>
              <a:gd name="connsiteX897" fmla="*/ 841049 w 12192000"/>
              <a:gd name="connsiteY897" fmla="*/ 609085 h 6858000"/>
              <a:gd name="connsiteX898" fmla="*/ 879072 w 12192000"/>
              <a:gd name="connsiteY898" fmla="*/ 595923 h 6858000"/>
              <a:gd name="connsiteX899" fmla="*/ 886384 w 12192000"/>
              <a:gd name="connsiteY899" fmla="*/ 585686 h 6858000"/>
              <a:gd name="connsiteX900" fmla="*/ 892233 w 12192000"/>
              <a:gd name="connsiteY900" fmla="*/ 572524 h 6858000"/>
              <a:gd name="connsiteX901" fmla="*/ 892233 w 12192000"/>
              <a:gd name="connsiteY901" fmla="*/ 521339 h 6858000"/>
              <a:gd name="connsiteX902" fmla="*/ 883459 w 12192000"/>
              <a:gd name="connsiteY902" fmla="*/ 512565 h 6858000"/>
              <a:gd name="connsiteX903" fmla="*/ 870297 w 12192000"/>
              <a:gd name="connsiteY903" fmla="*/ 506715 h 6858000"/>
              <a:gd name="connsiteX904" fmla="*/ 851286 w 12192000"/>
              <a:gd name="connsiteY904" fmla="*/ 505253 h 6858000"/>
              <a:gd name="connsiteX905" fmla="*/ 1726180 w 12192000"/>
              <a:gd name="connsiteY905" fmla="*/ 502876 h 6858000"/>
              <a:gd name="connsiteX906" fmla="*/ 1698029 w 12192000"/>
              <a:gd name="connsiteY906" fmla="*/ 509640 h 6858000"/>
              <a:gd name="connsiteX907" fmla="*/ 1642457 w 12192000"/>
              <a:gd name="connsiteY907" fmla="*/ 533039 h 6858000"/>
              <a:gd name="connsiteX908" fmla="*/ 1569336 w 12192000"/>
              <a:gd name="connsiteY908" fmla="*/ 579836 h 6858000"/>
              <a:gd name="connsiteX909" fmla="*/ 1493290 w 12192000"/>
              <a:gd name="connsiteY909" fmla="*/ 645645 h 6858000"/>
              <a:gd name="connsiteX910" fmla="*/ 1427481 w 12192000"/>
              <a:gd name="connsiteY910" fmla="*/ 720229 h 6858000"/>
              <a:gd name="connsiteX911" fmla="*/ 1380683 w 12192000"/>
              <a:gd name="connsiteY911" fmla="*/ 790425 h 6858000"/>
              <a:gd name="connsiteX912" fmla="*/ 1349972 w 12192000"/>
              <a:gd name="connsiteY912" fmla="*/ 853309 h 6858000"/>
              <a:gd name="connsiteX913" fmla="*/ 1332423 w 12192000"/>
              <a:gd name="connsiteY913" fmla="*/ 907419 h 6858000"/>
              <a:gd name="connsiteX914" fmla="*/ 1325111 w 12192000"/>
              <a:gd name="connsiteY914" fmla="*/ 952754 h 6858000"/>
              <a:gd name="connsiteX915" fmla="*/ 1325111 w 12192000"/>
              <a:gd name="connsiteY915" fmla="*/ 984927 h 6858000"/>
              <a:gd name="connsiteX916" fmla="*/ 1332423 w 12192000"/>
              <a:gd name="connsiteY916" fmla="*/ 1011251 h 6858000"/>
              <a:gd name="connsiteX917" fmla="*/ 1345585 w 12192000"/>
              <a:gd name="connsiteY917" fmla="*/ 1034650 h 6858000"/>
              <a:gd name="connsiteX918" fmla="*/ 1366059 w 12192000"/>
              <a:gd name="connsiteY918" fmla="*/ 1053661 h 6858000"/>
              <a:gd name="connsiteX919" fmla="*/ 1390920 w 12192000"/>
              <a:gd name="connsiteY919" fmla="*/ 1065361 h 6858000"/>
              <a:gd name="connsiteX920" fmla="*/ 1449417 w 12192000"/>
              <a:gd name="connsiteY920" fmla="*/ 1065361 h 6858000"/>
              <a:gd name="connsiteX921" fmla="*/ 1485978 w 12192000"/>
              <a:gd name="connsiteY921" fmla="*/ 1049274 h 6858000"/>
              <a:gd name="connsiteX922" fmla="*/ 1567873 w 12192000"/>
              <a:gd name="connsiteY922" fmla="*/ 982003 h 6858000"/>
              <a:gd name="connsiteX923" fmla="*/ 1620521 w 12192000"/>
              <a:gd name="connsiteY923" fmla="*/ 900107 h 6858000"/>
              <a:gd name="connsiteX924" fmla="*/ 1629295 w 12192000"/>
              <a:gd name="connsiteY924" fmla="*/ 865009 h 6858000"/>
              <a:gd name="connsiteX925" fmla="*/ 1635145 w 12192000"/>
              <a:gd name="connsiteY925" fmla="*/ 831373 h 6858000"/>
              <a:gd name="connsiteX926" fmla="*/ 1633682 w 12192000"/>
              <a:gd name="connsiteY926" fmla="*/ 807974 h 6858000"/>
              <a:gd name="connsiteX927" fmla="*/ 1630758 w 12192000"/>
              <a:gd name="connsiteY927" fmla="*/ 800662 h 6858000"/>
              <a:gd name="connsiteX928" fmla="*/ 1619058 w 12192000"/>
              <a:gd name="connsiteY928" fmla="*/ 790425 h 6858000"/>
              <a:gd name="connsiteX929" fmla="*/ 1610284 w 12192000"/>
              <a:gd name="connsiteY929" fmla="*/ 787500 h 6858000"/>
              <a:gd name="connsiteX930" fmla="*/ 1597122 w 12192000"/>
              <a:gd name="connsiteY930" fmla="*/ 786038 h 6858000"/>
              <a:gd name="connsiteX931" fmla="*/ 1581035 w 12192000"/>
              <a:gd name="connsiteY931" fmla="*/ 787500 h 6858000"/>
              <a:gd name="connsiteX932" fmla="*/ 1512301 w 12192000"/>
              <a:gd name="connsiteY932" fmla="*/ 829911 h 6858000"/>
              <a:gd name="connsiteX933" fmla="*/ 1494752 w 12192000"/>
              <a:gd name="connsiteY933" fmla="*/ 853309 h 6858000"/>
              <a:gd name="connsiteX934" fmla="*/ 1477203 w 12192000"/>
              <a:gd name="connsiteY934" fmla="*/ 884020 h 6858000"/>
              <a:gd name="connsiteX935" fmla="*/ 1462579 w 12192000"/>
              <a:gd name="connsiteY935" fmla="*/ 920581 h 6858000"/>
              <a:gd name="connsiteX936" fmla="*/ 1452342 w 12192000"/>
              <a:gd name="connsiteY936" fmla="*/ 960066 h 6858000"/>
              <a:gd name="connsiteX937" fmla="*/ 1485978 w 12192000"/>
              <a:gd name="connsiteY937" fmla="*/ 933743 h 6858000"/>
              <a:gd name="connsiteX938" fmla="*/ 1507914 w 12192000"/>
              <a:gd name="connsiteY938" fmla="*/ 919118 h 6858000"/>
              <a:gd name="connsiteX939" fmla="*/ 1534238 w 12192000"/>
              <a:gd name="connsiteY939" fmla="*/ 905957 h 6858000"/>
              <a:gd name="connsiteX940" fmla="*/ 1548862 w 12192000"/>
              <a:gd name="connsiteY940" fmla="*/ 863546 h 6858000"/>
              <a:gd name="connsiteX941" fmla="*/ 1557636 w 12192000"/>
              <a:gd name="connsiteY941" fmla="*/ 847460 h 6858000"/>
              <a:gd name="connsiteX942" fmla="*/ 1566411 w 12192000"/>
              <a:gd name="connsiteY942" fmla="*/ 835760 h 6858000"/>
              <a:gd name="connsiteX943" fmla="*/ 1588347 w 12192000"/>
              <a:gd name="connsiteY943" fmla="*/ 818211 h 6858000"/>
              <a:gd name="connsiteX944" fmla="*/ 1616132 w 12192000"/>
              <a:gd name="connsiteY944" fmla="*/ 821136 h 6858000"/>
              <a:gd name="connsiteX945" fmla="*/ 1620521 w 12192000"/>
              <a:gd name="connsiteY945" fmla="*/ 834298 h 6858000"/>
              <a:gd name="connsiteX946" fmla="*/ 1610284 w 12192000"/>
              <a:gd name="connsiteY946" fmla="*/ 886945 h 6858000"/>
              <a:gd name="connsiteX947" fmla="*/ 1598584 w 12192000"/>
              <a:gd name="connsiteY947" fmla="*/ 913269 h 6858000"/>
              <a:gd name="connsiteX948" fmla="*/ 1581035 w 12192000"/>
              <a:gd name="connsiteY948" fmla="*/ 941055 h 6858000"/>
              <a:gd name="connsiteX949" fmla="*/ 1526925 w 12192000"/>
              <a:gd name="connsiteY949" fmla="*/ 996627 h 6858000"/>
              <a:gd name="connsiteX950" fmla="*/ 1471353 w 12192000"/>
              <a:gd name="connsiteY950" fmla="*/ 1028800 h 6858000"/>
              <a:gd name="connsiteX951" fmla="*/ 1453803 w 12192000"/>
              <a:gd name="connsiteY951" fmla="*/ 1031725 h 6858000"/>
              <a:gd name="connsiteX952" fmla="*/ 1439180 w 12192000"/>
              <a:gd name="connsiteY952" fmla="*/ 1030263 h 6858000"/>
              <a:gd name="connsiteX953" fmla="*/ 1414319 w 12192000"/>
              <a:gd name="connsiteY953" fmla="*/ 1012714 h 6858000"/>
              <a:gd name="connsiteX954" fmla="*/ 1405544 w 12192000"/>
              <a:gd name="connsiteY954" fmla="*/ 998089 h 6858000"/>
              <a:gd name="connsiteX955" fmla="*/ 1401157 w 12192000"/>
              <a:gd name="connsiteY955" fmla="*/ 965916 h 6858000"/>
              <a:gd name="connsiteX956" fmla="*/ 1412856 w 12192000"/>
              <a:gd name="connsiteY956" fmla="*/ 922043 h 6858000"/>
              <a:gd name="connsiteX957" fmla="*/ 1449417 w 12192000"/>
              <a:gd name="connsiteY957" fmla="*/ 840148 h 6858000"/>
              <a:gd name="connsiteX958" fmla="*/ 1507914 w 12192000"/>
              <a:gd name="connsiteY958" fmla="*/ 740703 h 6858000"/>
              <a:gd name="connsiteX959" fmla="*/ 1566411 w 12192000"/>
              <a:gd name="connsiteY959" fmla="*/ 661732 h 6858000"/>
              <a:gd name="connsiteX960" fmla="*/ 1611746 w 12192000"/>
              <a:gd name="connsiteY960" fmla="*/ 609085 h 6858000"/>
              <a:gd name="connsiteX961" fmla="*/ 1649768 w 12192000"/>
              <a:gd name="connsiteY961" fmla="*/ 575449 h 6858000"/>
              <a:gd name="connsiteX962" fmla="*/ 1680480 w 12192000"/>
              <a:gd name="connsiteY962" fmla="*/ 554975 h 6858000"/>
              <a:gd name="connsiteX963" fmla="*/ 1705341 w 12192000"/>
              <a:gd name="connsiteY963" fmla="*/ 543276 h 6858000"/>
              <a:gd name="connsiteX964" fmla="*/ 1763838 w 12192000"/>
              <a:gd name="connsiteY964" fmla="*/ 535964 h 6858000"/>
              <a:gd name="connsiteX965" fmla="*/ 1719965 w 12192000"/>
              <a:gd name="connsiteY965" fmla="*/ 565212 h 6858000"/>
              <a:gd name="connsiteX966" fmla="*/ 1660006 w 12192000"/>
              <a:gd name="connsiteY966" fmla="*/ 628096 h 6858000"/>
              <a:gd name="connsiteX967" fmla="*/ 1643918 w 12192000"/>
              <a:gd name="connsiteY967" fmla="*/ 654420 h 6858000"/>
              <a:gd name="connsiteX968" fmla="*/ 1635145 w 12192000"/>
              <a:gd name="connsiteY968" fmla="*/ 677819 h 6858000"/>
              <a:gd name="connsiteX969" fmla="*/ 1630758 w 12192000"/>
              <a:gd name="connsiteY969" fmla="*/ 696830 h 6858000"/>
              <a:gd name="connsiteX970" fmla="*/ 1630758 w 12192000"/>
              <a:gd name="connsiteY970" fmla="*/ 709992 h 6858000"/>
              <a:gd name="connsiteX971" fmla="*/ 1633682 w 12192000"/>
              <a:gd name="connsiteY971" fmla="*/ 718766 h 6858000"/>
              <a:gd name="connsiteX972" fmla="*/ 1638070 w 12192000"/>
              <a:gd name="connsiteY972" fmla="*/ 726079 h 6858000"/>
              <a:gd name="connsiteX973" fmla="*/ 1643918 w 12192000"/>
              <a:gd name="connsiteY973" fmla="*/ 731928 h 6858000"/>
              <a:gd name="connsiteX974" fmla="*/ 1652694 w 12192000"/>
              <a:gd name="connsiteY974" fmla="*/ 734853 h 6858000"/>
              <a:gd name="connsiteX975" fmla="*/ 1664393 w 12192000"/>
              <a:gd name="connsiteY975" fmla="*/ 736316 h 6858000"/>
              <a:gd name="connsiteX976" fmla="*/ 1690717 w 12192000"/>
              <a:gd name="connsiteY976" fmla="*/ 729003 h 6858000"/>
              <a:gd name="connsiteX977" fmla="*/ 1708266 w 12192000"/>
              <a:gd name="connsiteY977" fmla="*/ 718766 h 6858000"/>
              <a:gd name="connsiteX978" fmla="*/ 1728740 w 12192000"/>
              <a:gd name="connsiteY978" fmla="*/ 701217 h 6858000"/>
              <a:gd name="connsiteX979" fmla="*/ 1749214 w 12192000"/>
              <a:gd name="connsiteY979" fmla="*/ 676356 h 6858000"/>
              <a:gd name="connsiteX980" fmla="*/ 1768225 w 12192000"/>
              <a:gd name="connsiteY980" fmla="*/ 647108 h 6858000"/>
              <a:gd name="connsiteX981" fmla="*/ 1790162 w 12192000"/>
              <a:gd name="connsiteY981" fmla="*/ 592998 h 6858000"/>
              <a:gd name="connsiteX982" fmla="*/ 1794549 w 12192000"/>
              <a:gd name="connsiteY982" fmla="*/ 571062 h 6858000"/>
              <a:gd name="connsiteX983" fmla="*/ 1794549 w 12192000"/>
              <a:gd name="connsiteY983" fmla="*/ 563750 h 6858000"/>
              <a:gd name="connsiteX984" fmla="*/ 1794549 w 12192000"/>
              <a:gd name="connsiteY984" fmla="*/ 550588 h 6858000"/>
              <a:gd name="connsiteX985" fmla="*/ 1794549 w 12192000"/>
              <a:gd name="connsiteY985" fmla="*/ 541813 h 6858000"/>
              <a:gd name="connsiteX986" fmla="*/ 1847196 w 12192000"/>
              <a:gd name="connsiteY986" fmla="*/ 547663 h 6858000"/>
              <a:gd name="connsiteX987" fmla="*/ 1901306 w 12192000"/>
              <a:gd name="connsiteY987" fmla="*/ 572524 h 6858000"/>
              <a:gd name="connsiteX988" fmla="*/ 1980277 w 12192000"/>
              <a:gd name="connsiteY988" fmla="*/ 631021 h 6858000"/>
              <a:gd name="connsiteX989" fmla="*/ 2032924 w 12192000"/>
              <a:gd name="connsiteY989" fmla="*/ 576911 h 6858000"/>
              <a:gd name="connsiteX990" fmla="*/ 1981739 w 12192000"/>
              <a:gd name="connsiteY990" fmla="*/ 537426 h 6858000"/>
              <a:gd name="connsiteX991" fmla="*/ 1940791 w 12192000"/>
              <a:gd name="connsiteY991" fmla="*/ 515490 h 6858000"/>
              <a:gd name="connsiteX992" fmla="*/ 1908618 w 12192000"/>
              <a:gd name="connsiteY992" fmla="*/ 505253 h 6858000"/>
              <a:gd name="connsiteX993" fmla="*/ 1864744 w 12192000"/>
              <a:gd name="connsiteY993" fmla="*/ 503790 h 6858000"/>
              <a:gd name="connsiteX994" fmla="*/ 1841347 w 12192000"/>
              <a:gd name="connsiteY994" fmla="*/ 508178 h 6858000"/>
              <a:gd name="connsiteX995" fmla="*/ 1794549 w 12192000"/>
              <a:gd name="connsiteY995" fmla="*/ 522802 h 6858000"/>
              <a:gd name="connsiteX996" fmla="*/ 1768225 w 12192000"/>
              <a:gd name="connsiteY996" fmla="*/ 508178 h 6858000"/>
              <a:gd name="connsiteX997" fmla="*/ 1752139 w 12192000"/>
              <a:gd name="connsiteY997" fmla="*/ 503790 h 6858000"/>
              <a:gd name="connsiteX998" fmla="*/ 1726180 w 12192000"/>
              <a:gd name="connsiteY998" fmla="*/ 502876 h 6858000"/>
              <a:gd name="connsiteX999" fmla="*/ 0 w 12192000"/>
              <a:gd name="connsiteY999" fmla="*/ 0 h 6858000"/>
              <a:gd name="connsiteX1000" fmla="*/ 12192000 w 12192000"/>
              <a:gd name="connsiteY1000" fmla="*/ 0 h 6858000"/>
              <a:gd name="connsiteX1001" fmla="*/ 12192000 w 12192000"/>
              <a:gd name="connsiteY1001" fmla="*/ 6858000 h 6858000"/>
              <a:gd name="connsiteX1002" fmla="*/ 0 w 12192000"/>
              <a:gd name="connsiteY1002" fmla="*/ 6858000 h 6858000"/>
              <a:gd name="connsiteX1003" fmla="*/ 0 w 12192000"/>
              <a:gd name="connsiteY1003" fmla="*/ 5859345 h 6858000"/>
              <a:gd name="connsiteX1004" fmla="*/ 6587067 w 12192000"/>
              <a:gd name="connsiteY1004" fmla="*/ 5859345 h 6858000"/>
              <a:gd name="connsiteX1005" fmla="*/ 6587067 w 12192000"/>
              <a:gd name="connsiteY1005" fmla="*/ 4673658 h 6858000"/>
              <a:gd name="connsiteX1006" fmla="*/ 0 w 12192000"/>
              <a:gd name="connsiteY1006" fmla="*/ 4673658 h 6858000"/>
              <a:gd name="connsiteX1007" fmla="*/ 0 w 12192000"/>
              <a:gd name="connsiteY1007" fmla="*/ 4397961 h 6858000"/>
              <a:gd name="connsiteX1008" fmla="*/ 4672121 w 12192000"/>
              <a:gd name="connsiteY1008" fmla="*/ 4397961 h 6858000"/>
              <a:gd name="connsiteX1009" fmla="*/ 4672121 w 12192000"/>
              <a:gd name="connsiteY1009" fmla="*/ 4351438 h 6858000"/>
              <a:gd name="connsiteX1010" fmla="*/ 0 w 12192000"/>
              <a:gd name="connsiteY1010" fmla="*/ 435143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</a:cxnLst>
            <a:rect l="l" t="t" r="r" b="b"/>
            <a:pathLst>
              <a:path w="12192000" h="6858000">
                <a:moveTo>
                  <a:pt x="9655124" y="5071668"/>
                </a:moveTo>
                <a:cubicBezTo>
                  <a:pt x="9631245" y="5071668"/>
                  <a:pt x="9611886" y="5091026"/>
                  <a:pt x="9611886" y="5114906"/>
                </a:cubicBezTo>
                <a:cubicBezTo>
                  <a:pt x="9611886" y="5138786"/>
                  <a:pt x="9631245" y="5158145"/>
                  <a:pt x="9655124" y="5158145"/>
                </a:cubicBezTo>
                <a:cubicBezTo>
                  <a:pt x="9679004" y="5158145"/>
                  <a:pt x="9698363" y="5138786"/>
                  <a:pt x="9698363" y="5114906"/>
                </a:cubicBezTo>
                <a:cubicBezTo>
                  <a:pt x="9698363" y="5091026"/>
                  <a:pt x="9679004" y="5071668"/>
                  <a:pt x="9655124" y="5071668"/>
                </a:cubicBezTo>
                <a:close/>
                <a:moveTo>
                  <a:pt x="9486976" y="4998003"/>
                </a:moveTo>
                <a:cubicBezTo>
                  <a:pt x="9481371" y="4992398"/>
                  <a:pt x="9469360" y="5016419"/>
                  <a:pt x="9468559" y="5029231"/>
                </a:cubicBezTo>
                <a:cubicBezTo>
                  <a:pt x="9466958" y="5042042"/>
                  <a:pt x="9442937" y="5042042"/>
                  <a:pt x="9434129" y="5042843"/>
                </a:cubicBezTo>
                <a:cubicBezTo>
                  <a:pt x="9425321" y="5043643"/>
                  <a:pt x="9400499" y="5085280"/>
                  <a:pt x="9377278" y="5110903"/>
                </a:cubicBezTo>
                <a:cubicBezTo>
                  <a:pt x="9354058" y="5136526"/>
                  <a:pt x="9290001" y="5153341"/>
                  <a:pt x="9290001" y="5153341"/>
                </a:cubicBezTo>
                <a:cubicBezTo>
                  <a:pt x="9281193" y="5163750"/>
                  <a:pt x="9270784" y="5188572"/>
                  <a:pt x="9261976" y="5199782"/>
                </a:cubicBezTo>
                <a:cubicBezTo>
                  <a:pt x="9253168" y="5210992"/>
                  <a:pt x="9264378" y="5219799"/>
                  <a:pt x="9267581" y="5232611"/>
                </a:cubicBezTo>
                <a:cubicBezTo>
                  <a:pt x="9270784" y="5244621"/>
                  <a:pt x="9272385" y="5295066"/>
                  <a:pt x="9269182" y="5307077"/>
                </a:cubicBezTo>
                <a:cubicBezTo>
                  <a:pt x="9265980" y="5319087"/>
                  <a:pt x="9255571" y="5349514"/>
                  <a:pt x="9255571" y="5349514"/>
                </a:cubicBezTo>
                <a:cubicBezTo>
                  <a:pt x="9255571" y="5349514"/>
                  <a:pt x="9243560" y="5339906"/>
                  <a:pt x="9237955" y="5359123"/>
                </a:cubicBezTo>
                <a:cubicBezTo>
                  <a:pt x="9232350" y="5378340"/>
                  <a:pt x="9220339" y="5388749"/>
                  <a:pt x="9213133" y="5397557"/>
                </a:cubicBezTo>
                <a:cubicBezTo>
                  <a:pt x="9205926" y="5406365"/>
                  <a:pt x="9219539" y="5435991"/>
                  <a:pt x="9224343" y="5452806"/>
                </a:cubicBezTo>
                <a:cubicBezTo>
                  <a:pt x="9229948" y="5470422"/>
                  <a:pt x="9221941" y="5478429"/>
                  <a:pt x="9220339" y="5496044"/>
                </a:cubicBezTo>
                <a:cubicBezTo>
                  <a:pt x="9218738" y="5513660"/>
                  <a:pt x="9241158" y="5535279"/>
                  <a:pt x="9255571" y="5541685"/>
                </a:cubicBezTo>
                <a:cubicBezTo>
                  <a:pt x="9269182" y="5548090"/>
                  <a:pt x="9284396" y="5542486"/>
                  <a:pt x="9298809" y="5534478"/>
                </a:cubicBezTo>
                <a:cubicBezTo>
                  <a:pt x="9314022" y="5527272"/>
                  <a:pt x="9309218" y="5532877"/>
                  <a:pt x="9322830" y="5534478"/>
                </a:cubicBezTo>
                <a:cubicBezTo>
                  <a:pt x="9336442" y="5536080"/>
                  <a:pt x="9345250" y="5516062"/>
                  <a:pt x="9345250" y="5516062"/>
                </a:cubicBezTo>
                <a:cubicBezTo>
                  <a:pt x="9345250" y="5516062"/>
                  <a:pt x="9354859" y="5494443"/>
                  <a:pt x="9354859" y="5481632"/>
                </a:cubicBezTo>
                <a:cubicBezTo>
                  <a:pt x="9354859" y="5468820"/>
                  <a:pt x="9370873" y="5462415"/>
                  <a:pt x="9370873" y="5462415"/>
                </a:cubicBezTo>
                <a:lnTo>
                  <a:pt x="9435730" y="5324692"/>
                </a:lnTo>
                <a:cubicBezTo>
                  <a:pt x="9435730" y="5324692"/>
                  <a:pt x="9431727" y="5309479"/>
                  <a:pt x="9442937" y="5293465"/>
                </a:cubicBezTo>
                <a:cubicBezTo>
                  <a:pt x="9454147" y="5277451"/>
                  <a:pt x="9458951" y="5268643"/>
                  <a:pt x="9462154" y="5255031"/>
                </a:cubicBezTo>
                <a:cubicBezTo>
                  <a:pt x="9465356" y="5241419"/>
                  <a:pt x="9472563" y="5223002"/>
                  <a:pt x="9471762" y="5211792"/>
                </a:cubicBezTo>
                <a:cubicBezTo>
                  <a:pt x="9471762" y="5200582"/>
                  <a:pt x="9487776" y="5194177"/>
                  <a:pt x="9494983" y="5184568"/>
                </a:cubicBezTo>
                <a:cubicBezTo>
                  <a:pt x="9502189" y="5174960"/>
                  <a:pt x="9494983" y="5171757"/>
                  <a:pt x="9494182" y="5138928"/>
                </a:cubicBezTo>
                <a:cubicBezTo>
                  <a:pt x="9493381" y="5106899"/>
                  <a:pt x="9514200" y="5135725"/>
                  <a:pt x="9516602" y="5131721"/>
                </a:cubicBezTo>
                <a:cubicBezTo>
                  <a:pt x="9518203" y="5127718"/>
                  <a:pt x="9508595" y="5042843"/>
                  <a:pt x="9506193" y="5026028"/>
                </a:cubicBezTo>
                <a:cubicBezTo>
                  <a:pt x="9504591" y="5009213"/>
                  <a:pt x="9493381" y="5004408"/>
                  <a:pt x="9486976" y="4998003"/>
                </a:cubicBezTo>
                <a:close/>
                <a:moveTo>
                  <a:pt x="9177902" y="4942753"/>
                </a:moveTo>
                <a:cubicBezTo>
                  <a:pt x="9170696" y="4949959"/>
                  <a:pt x="9163489" y="4956365"/>
                  <a:pt x="9155482" y="4963571"/>
                </a:cubicBezTo>
                <a:cubicBezTo>
                  <a:pt x="9057796" y="5058055"/>
                  <a:pt x="8968917" y="5160546"/>
                  <a:pt x="8892049" y="5271044"/>
                </a:cubicBezTo>
                <a:cubicBezTo>
                  <a:pt x="8882440" y="5284656"/>
                  <a:pt x="8872031" y="5298268"/>
                  <a:pt x="8863223" y="5312681"/>
                </a:cubicBezTo>
                <a:lnTo>
                  <a:pt x="8835999" y="5355118"/>
                </a:lnTo>
                <a:cubicBezTo>
                  <a:pt x="8827191" y="5369531"/>
                  <a:pt x="8818383" y="5383944"/>
                  <a:pt x="8809575" y="5398357"/>
                </a:cubicBezTo>
                <a:cubicBezTo>
                  <a:pt x="8805572" y="5405563"/>
                  <a:pt x="8800768" y="5412770"/>
                  <a:pt x="8796764" y="5419976"/>
                </a:cubicBezTo>
                <a:lnTo>
                  <a:pt x="8784753" y="5442396"/>
                </a:lnTo>
                <a:cubicBezTo>
                  <a:pt x="8776746" y="5457609"/>
                  <a:pt x="8767939" y="5472022"/>
                  <a:pt x="8759932" y="5486435"/>
                </a:cubicBezTo>
                <a:lnTo>
                  <a:pt x="8736711" y="5531275"/>
                </a:lnTo>
                <a:cubicBezTo>
                  <a:pt x="8728704" y="5546488"/>
                  <a:pt x="8722298" y="5561702"/>
                  <a:pt x="8714291" y="5576915"/>
                </a:cubicBezTo>
                <a:lnTo>
                  <a:pt x="8703081" y="5600136"/>
                </a:lnTo>
                <a:cubicBezTo>
                  <a:pt x="8699078" y="5608143"/>
                  <a:pt x="8695875" y="5615349"/>
                  <a:pt x="8692672" y="5623356"/>
                </a:cubicBezTo>
                <a:cubicBezTo>
                  <a:pt x="8655839" y="5706630"/>
                  <a:pt x="8623811" y="5792306"/>
                  <a:pt x="8595786" y="5879583"/>
                </a:cubicBezTo>
                <a:cubicBezTo>
                  <a:pt x="8952102" y="5796310"/>
                  <a:pt x="8815981" y="5578517"/>
                  <a:pt x="9001746" y="5471221"/>
                </a:cubicBezTo>
                <a:cubicBezTo>
                  <a:pt x="9020162" y="5320688"/>
                  <a:pt x="8926479" y="5259834"/>
                  <a:pt x="9129059" y="5175759"/>
                </a:cubicBezTo>
                <a:cubicBezTo>
                  <a:pt x="9205126" y="5118909"/>
                  <a:pt x="9200322" y="5030030"/>
                  <a:pt x="9177902" y="4942753"/>
                </a:cubicBezTo>
                <a:close/>
                <a:moveTo>
                  <a:pt x="8950500" y="4845067"/>
                </a:moveTo>
                <a:lnTo>
                  <a:pt x="8932884" y="4864284"/>
                </a:lnTo>
                <a:lnTo>
                  <a:pt x="8921674" y="4875494"/>
                </a:lnTo>
                <a:lnTo>
                  <a:pt x="8910464" y="4886704"/>
                </a:lnTo>
                <a:lnTo>
                  <a:pt x="8888845" y="4909124"/>
                </a:lnTo>
                <a:lnTo>
                  <a:pt x="8867226" y="4931544"/>
                </a:lnTo>
                <a:lnTo>
                  <a:pt x="8845607" y="4953963"/>
                </a:lnTo>
                <a:lnTo>
                  <a:pt x="8823988" y="4976383"/>
                </a:lnTo>
                <a:lnTo>
                  <a:pt x="8813578" y="4987593"/>
                </a:lnTo>
                <a:lnTo>
                  <a:pt x="8803169" y="4999604"/>
                </a:lnTo>
                <a:lnTo>
                  <a:pt x="8761532" y="5046045"/>
                </a:lnTo>
                <a:lnTo>
                  <a:pt x="8721497" y="5094088"/>
                </a:lnTo>
                <a:cubicBezTo>
                  <a:pt x="8707885" y="5110102"/>
                  <a:pt x="8695874" y="5126116"/>
                  <a:pt x="8683063" y="5142931"/>
                </a:cubicBezTo>
                <a:lnTo>
                  <a:pt x="8663846" y="5167753"/>
                </a:lnTo>
                <a:cubicBezTo>
                  <a:pt x="8657440" y="5175760"/>
                  <a:pt x="8651835" y="5184568"/>
                  <a:pt x="8645429" y="5192575"/>
                </a:cubicBezTo>
                <a:cubicBezTo>
                  <a:pt x="8595785" y="5259034"/>
                  <a:pt x="8550945" y="5329496"/>
                  <a:pt x="8509309" y="5400760"/>
                </a:cubicBezTo>
                <a:lnTo>
                  <a:pt x="8478882" y="5455208"/>
                </a:lnTo>
                <a:lnTo>
                  <a:pt x="8450857" y="5511257"/>
                </a:lnTo>
                <a:cubicBezTo>
                  <a:pt x="8441248" y="5529674"/>
                  <a:pt x="8433241" y="5548891"/>
                  <a:pt x="8424433" y="5568108"/>
                </a:cubicBezTo>
                <a:lnTo>
                  <a:pt x="8411622" y="5596933"/>
                </a:lnTo>
                <a:lnTo>
                  <a:pt x="8405216" y="5611346"/>
                </a:lnTo>
                <a:lnTo>
                  <a:pt x="8399611" y="5625759"/>
                </a:lnTo>
                <a:cubicBezTo>
                  <a:pt x="8387601" y="5653784"/>
                  <a:pt x="8377191" y="5681809"/>
                  <a:pt x="8367583" y="5710634"/>
                </a:cubicBezTo>
                <a:cubicBezTo>
                  <a:pt x="8373989" y="5722645"/>
                  <a:pt x="8380394" y="5733855"/>
                  <a:pt x="8387601" y="5745065"/>
                </a:cubicBezTo>
                <a:cubicBezTo>
                  <a:pt x="8417227" y="5803517"/>
                  <a:pt x="8403615" y="5891595"/>
                  <a:pt x="8482885" y="5901203"/>
                </a:cubicBezTo>
                <a:cubicBezTo>
                  <a:pt x="8514113" y="5897200"/>
                  <a:pt x="8542938" y="5892395"/>
                  <a:pt x="8568561" y="5887591"/>
                </a:cubicBezTo>
                <a:cubicBezTo>
                  <a:pt x="8583775" y="5791506"/>
                  <a:pt x="8607796" y="5697022"/>
                  <a:pt x="8639824" y="5604941"/>
                </a:cubicBezTo>
                <a:cubicBezTo>
                  <a:pt x="8663846" y="5539282"/>
                  <a:pt x="8691070" y="5474425"/>
                  <a:pt x="8723899" y="5411969"/>
                </a:cubicBezTo>
                <a:lnTo>
                  <a:pt x="8735910" y="5388749"/>
                </a:lnTo>
                <a:cubicBezTo>
                  <a:pt x="8739913" y="5380742"/>
                  <a:pt x="8744717" y="5373536"/>
                  <a:pt x="8748721" y="5365528"/>
                </a:cubicBezTo>
                <a:cubicBezTo>
                  <a:pt x="8757529" y="5350315"/>
                  <a:pt x="8766337" y="5335101"/>
                  <a:pt x="8775144" y="5319888"/>
                </a:cubicBezTo>
                <a:cubicBezTo>
                  <a:pt x="8794361" y="5290262"/>
                  <a:pt x="8812778" y="5260635"/>
                  <a:pt x="8832795" y="5231810"/>
                </a:cubicBezTo>
                <a:cubicBezTo>
                  <a:pt x="8912866" y="5116508"/>
                  <a:pt x="9009752" y="5012415"/>
                  <a:pt x="9117047" y="4923536"/>
                </a:cubicBezTo>
                <a:cubicBezTo>
                  <a:pt x="9131460" y="4912327"/>
                  <a:pt x="9145072" y="4900316"/>
                  <a:pt x="9159485" y="4889106"/>
                </a:cubicBezTo>
                <a:cubicBezTo>
                  <a:pt x="9154681" y="4873892"/>
                  <a:pt x="9149876" y="4859480"/>
                  <a:pt x="9145072" y="4845067"/>
                </a:cubicBezTo>
                <a:close/>
                <a:moveTo>
                  <a:pt x="8306729" y="4646491"/>
                </a:moveTo>
                <a:lnTo>
                  <a:pt x="8284309" y="4675316"/>
                </a:lnTo>
                <a:cubicBezTo>
                  <a:pt x="8280306" y="4680121"/>
                  <a:pt x="8277103" y="4684925"/>
                  <a:pt x="8273100" y="4689729"/>
                </a:cubicBezTo>
                <a:lnTo>
                  <a:pt x="8262690" y="4704142"/>
                </a:lnTo>
                <a:cubicBezTo>
                  <a:pt x="8243473" y="4729765"/>
                  <a:pt x="8225858" y="4756188"/>
                  <a:pt x="8209043" y="4782612"/>
                </a:cubicBezTo>
                <a:cubicBezTo>
                  <a:pt x="8249078" y="4913928"/>
                  <a:pt x="8235466" y="5018020"/>
                  <a:pt x="8194630" y="5239016"/>
                </a:cubicBezTo>
                <a:cubicBezTo>
                  <a:pt x="8208242" y="5263037"/>
                  <a:pt x="8220253" y="5287860"/>
                  <a:pt x="8231463" y="5312682"/>
                </a:cubicBezTo>
                <a:cubicBezTo>
                  <a:pt x="8254683" y="5231810"/>
                  <a:pt x="8284309" y="5153340"/>
                  <a:pt x="8319541" y="5076472"/>
                </a:cubicBezTo>
                <a:cubicBezTo>
                  <a:pt x="8356373" y="4996401"/>
                  <a:pt x="8400412" y="4918732"/>
                  <a:pt x="8450057" y="4845067"/>
                </a:cubicBezTo>
                <a:lnTo>
                  <a:pt x="8363580" y="4845067"/>
                </a:lnTo>
                <a:close/>
                <a:moveTo>
                  <a:pt x="8800768" y="4626473"/>
                </a:moveTo>
                <a:lnTo>
                  <a:pt x="8751124" y="4845867"/>
                </a:lnTo>
                <a:lnTo>
                  <a:pt x="8530929" y="4845867"/>
                </a:lnTo>
                <a:cubicBezTo>
                  <a:pt x="8469274" y="4925938"/>
                  <a:pt x="8414826" y="5011614"/>
                  <a:pt x="8367584" y="5101294"/>
                </a:cubicBezTo>
                <a:cubicBezTo>
                  <a:pt x="8322744" y="5186970"/>
                  <a:pt x="8284310" y="5275849"/>
                  <a:pt x="8251481" y="5367129"/>
                </a:cubicBezTo>
                <a:cubicBezTo>
                  <a:pt x="8288314" y="5470421"/>
                  <a:pt x="8305929" y="5576916"/>
                  <a:pt x="8350769" y="5676204"/>
                </a:cubicBezTo>
                <a:lnTo>
                  <a:pt x="8368385" y="5613748"/>
                </a:lnTo>
                <a:lnTo>
                  <a:pt x="8372388" y="5598535"/>
                </a:lnTo>
                <a:lnTo>
                  <a:pt x="8377192" y="5583321"/>
                </a:lnTo>
                <a:lnTo>
                  <a:pt x="8387602" y="5552894"/>
                </a:lnTo>
                <a:cubicBezTo>
                  <a:pt x="8394808" y="5532877"/>
                  <a:pt x="8401214" y="5512058"/>
                  <a:pt x="8409221" y="5492841"/>
                </a:cubicBezTo>
                <a:lnTo>
                  <a:pt x="8433242" y="5433589"/>
                </a:lnTo>
                <a:cubicBezTo>
                  <a:pt x="8442050" y="5414372"/>
                  <a:pt x="8451658" y="5395154"/>
                  <a:pt x="8460466" y="5375937"/>
                </a:cubicBezTo>
                <a:lnTo>
                  <a:pt x="8467673" y="5361525"/>
                </a:lnTo>
                <a:cubicBezTo>
                  <a:pt x="8470075" y="5356720"/>
                  <a:pt x="8472477" y="5351916"/>
                  <a:pt x="8474879" y="5347112"/>
                </a:cubicBezTo>
                <a:lnTo>
                  <a:pt x="8490093" y="5319087"/>
                </a:lnTo>
                <a:lnTo>
                  <a:pt x="8505306" y="5291062"/>
                </a:lnTo>
                <a:cubicBezTo>
                  <a:pt x="8507708" y="5286258"/>
                  <a:pt x="8510110" y="5281454"/>
                  <a:pt x="8513313" y="5276649"/>
                </a:cubicBezTo>
                <a:lnTo>
                  <a:pt x="8521320" y="5263037"/>
                </a:lnTo>
                <a:lnTo>
                  <a:pt x="8554950" y="5208589"/>
                </a:lnTo>
                <a:cubicBezTo>
                  <a:pt x="8566961" y="5190973"/>
                  <a:pt x="8578971" y="5173358"/>
                  <a:pt x="8590982" y="5154941"/>
                </a:cubicBezTo>
                <a:cubicBezTo>
                  <a:pt x="8639825" y="5084479"/>
                  <a:pt x="8692672" y="5017219"/>
                  <a:pt x="8750323" y="4953963"/>
                </a:cubicBezTo>
                <a:lnTo>
                  <a:pt x="8760732" y="4941953"/>
                </a:lnTo>
                <a:lnTo>
                  <a:pt x="8771942" y="4929942"/>
                </a:lnTo>
                <a:lnTo>
                  <a:pt x="8794362" y="4906721"/>
                </a:lnTo>
                <a:lnTo>
                  <a:pt x="8816782" y="4883501"/>
                </a:lnTo>
                <a:lnTo>
                  <a:pt x="8839202" y="4861081"/>
                </a:lnTo>
                <a:cubicBezTo>
                  <a:pt x="8844006" y="4856277"/>
                  <a:pt x="8849611" y="4850672"/>
                  <a:pt x="8854416" y="4845867"/>
                </a:cubicBezTo>
                <a:lnTo>
                  <a:pt x="8850412" y="4845867"/>
                </a:lnTo>
                <a:close/>
                <a:moveTo>
                  <a:pt x="9876921" y="3917044"/>
                </a:moveTo>
                <a:lnTo>
                  <a:pt x="9876921" y="4769800"/>
                </a:lnTo>
                <a:lnTo>
                  <a:pt x="10134750" y="4769800"/>
                </a:lnTo>
                <a:lnTo>
                  <a:pt x="10134750" y="4337417"/>
                </a:lnTo>
                <a:lnTo>
                  <a:pt x="10449429" y="4769800"/>
                </a:lnTo>
                <a:lnTo>
                  <a:pt x="10697649" y="4769800"/>
                </a:lnTo>
                <a:lnTo>
                  <a:pt x="10697649" y="3917044"/>
                </a:lnTo>
                <a:lnTo>
                  <a:pt x="10439019" y="3917044"/>
                </a:lnTo>
                <a:lnTo>
                  <a:pt x="10439019" y="4320602"/>
                </a:lnTo>
                <a:lnTo>
                  <a:pt x="10142757" y="3917044"/>
                </a:lnTo>
                <a:close/>
                <a:moveTo>
                  <a:pt x="9480570" y="3917044"/>
                </a:moveTo>
                <a:lnTo>
                  <a:pt x="9480570" y="4769800"/>
                </a:lnTo>
                <a:lnTo>
                  <a:pt x="9739199" y="4769800"/>
                </a:lnTo>
                <a:lnTo>
                  <a:pt x="9739199" y="3917044"/>
                </a:lnTo>
                <a:close/>
                <a:moveTo>
                  <a:pt x="8176214" y="3917044"/>
                </a:moveTo>
                <a:lnTo>
                  <a:pt x="8420430" y="4769800"/>
                </a:lnTo>
                <a:lnTo>
                  <a:pt x="8691871" y="4769800"/>
                </a:lnTo>
                <a:lnTo>
                  <a:pt x="8801568" y="4286171"/>
                </a:lnTo>
                <a:lnTo>
                  <a:pt x="8911266" y="4769800"/>
                </a:lnTo>
                <a:lnTo>
                  <a:pt x="9182706" y="4769800"/>
                </a:lnTo>
                <a:lnTo>
                  <a:pt x="9426923" y="3917044"/>
                </a:lnTo>
                <a:lnTo>
                  <a:pt x="9136265" y="3917044"/>
                </a:lnTo>
                <a:lnTo>
                  <a:pt x="9027368" y="4438306"/>
                </a:lnTo>
                <a:lnTo>
                  <a:pt x="8898454" y="3917044"/>
                </a:lnTo>
                <a:lnTo>
                  <a:pt x="8704682" y="3917044"/>
                </a:lnTo>
                <a:lnTo>
                  <a:pt x="8574967" y="4438306"/>
                </a:lnTo>
                <a:lnTo>
                  <a:pt x="8465270" y="3917044"/>
                </a:lnTo>
                <a:close/>
                <a:moveTo>
                  <a:pt x="11152452" y="3905033"/>
                </a:moveTo>
                <a:cubicBezTo>
                  <a:pt x="11041954" y="3905033"/>
                  <a:pt x="10954676" y="3933058"/>
                  <a:pt x="10892221" y="3988307"/>
                </a:cubicBezTo>
                <a:cubicBezTo>
                  <a:pt x="10829765" y="4043556"/>
                  <a:pt x="10798538" y="4110015"/>
                  <a:pt x="10798538" y="4187684"/>
                </a:cubicBezTo>
                <a:cubicBezTo>
                  <a:pt x="10798538" y="4250139"/>
                  <a:pt x="10814552" y="4301384"/>
                  <a:pt x="10847381" y="4342221"/>
                </a:cubicBezTo>
                <a:cubicBezTo>
                  <a:pt x="10880210" y="4383057"/>
                  <a:pt x="10919445" y="4411882"/>
                  <a:pt x="10966687" y="4427897"/>
                </a:cubicBezTo>
                <a:cubicBezTo>
                  <a:pt x="11013128" y="4443911"/>
                  <a:pt x="11059569" y="4456722"/>
                  <a:pt x="11106010" y="4464729"/>
                </a:cubicBezTo>
                <a:cubicBezTo>
                  <a:pt x="11152452" y="4473537"/>
                  <a:pt x="11192487" y="4481544"/>
                  <a:pt x="11225316" y="4488751"/>
                </a:cubicBezTo>
                <a:cubicBezTo>
                  <a:pt x="11258145" y="4496758"/>
                  <a:pt x="11274159" y="4507167"/>
                  <a:pt x="11274159" y="4522380"/>
                </a:cubicBezTo>
                <a:cubicBezTo>
                  <a:pt x="11274159" y="4552807"/>
                  <a:pt x="11242932" y="4568021"/>
                  <a:pt x="11179676" y="4568021"/>
                </a:cubicBezTo>
                <a:cubicBezTo>
                  <a:pt x="11073181" y="4568021"/>
                  <a:pt x="10981900" y="4531188"/>
                  <a:pt x="10905032" y="4458324"/>
                </a:cubicBezTo>
                <a:lnTo>
                  <a:pt x="10770513" y="4650494"/>
                </a:lnTo>
                <a:cubicBezTo>
                  <a:pt x="10871402" y="4740974"/>
                  <a:pt x="11003520" y="4785814"/>
                  <a:pt x="11166864" y="4785814"/>
                </a:cubicBezTo>
                <a:cubicBezTo>
                  <a:pt x="11282167" y="4785013"/>
                  <a:pt x="11371846" y="4759390"/>
                  <a:pt x="11437504" y="4707344"/>
                </a:cubicBezTo>
                <a:cubicBezTo>
                  <a:pt x="11502362" y="4655298"/>
                  <a:pt x="11535191" y="4582434"/>
                  <a:pt x="11535191" y="4488751"/>
                </a:cubicBezTo>
                <a:cubicBezTo>
                  <a:pt x="11535191" y="4439106"/>
                  <a:pt x="11523180" y="4396669"/>
                  <a:pt x="11499960" y="4360637"/>
                </a:cubicBezTo>
                <a:cubicBezTo>
                  <a:pt x="11476739" y="4324605"/>
                  <a:pt x="11447113" y="4298182"/>
                  <a:pt x="11412682" y="4280566"/>
                </a:cubicBezTo>
                <a:cubicBezTo>
                  <a:pt x="11377451" y="4263751"/>
                  <a:pt x="11339818" y="4248538"/>
                  <a:pt x="11298181" y="4236527"/>
                </a:cubicBezTo>
                <a:cubicBezTo>
                  <a:pt x="11256544" y="4224516"/>
                  <a:pt x="11218910" y="4215708"/>
                  <a:pt x="11183679" y="4210904"/>
                </a:cubicBezTo>
                <a:cubicBezTo>
                  <a:pt x="11148448" y="4206100"/>
                  <a:pt x="11119623" y="4199694"/>
                  <a:pt x="11096402" y="4190886"/>
                </a:cubicBezTo>
                <a:cubicBezTo>
                  <a:pt x="11073181" y="4182079"/>
                  <a:pt x="11061171" y="4172470"/>
                  <a:pt x="11061171" y="4160460"/>
                </a:cubicBezTo>
                <a:cubicBezTo>
                  <a:pt x="11061171" y="4134837"/>
                  <a:pt x="11082790" y="4122025"/>
                  <a:pt x="11126028" y="4122025"/>
                </a:cubicBezTo>
                <a:cubicBezTo>
                  <a:pt x="11218910" y="4122025"/>
                  <a:pt x="11302184" y="4150050"/>
                  <a:pt x="11376650" y="4206100"/>
                </a:cubicBezTo>
                <a:lnTo>
                  <a:pt x="11514372" y="4023538"/>
                </a:lnTo>
                <a:cubicBezTo>
                  <a:pt x="11417487" y="3944268"/>
                  <a:pt x="11296579" y="3905033"/>
                  <a:pt x="11152452" y="3905033"/>
                </a:cubicBezTo>
                <a:close/>
                <a:moveTo>
                  <a:pt x="7221768" y="3876208"/>
                </a:moveTo>
                <a:cubicBezTo>
                  <a:pt x="7219366" y="3888219"/>
                  <a:pt x="7213761" y="3900229"/>
                  <a:pt x="7204953" y="3911439"/>
                </a:cubicBezTo>
                <a:cubicBezTo>
                  <a:pt x="7187338" y="4068378"/>
                  <a:pt x="7352284" y="4250940"/>
                  <a:pt x="7483600" y="4337417"/>
                </a:cubicBezTo>
                <a:cubicBezTo>
                  <a:pt x="7538048" y="4394267"/>
                  <a:pt x="7603707" y="4293378"/>
                  <a:pt x="7670966" y="4334214"/>
                </a:cubicBezTo>
                <a:cubicBezTo>
                  <a:pt x="7744632" y="4352630"/>
                  <a:pt x="7860735" y="4237328"/>
                  <a:pt x="7936001" y="4286171"/>
                </a:cubicBezTo>
                <a:cubicBezTo>
                  <a:pt x="8031286" y="4426296"/>
                  <a:pt x="8159399" y="4268556"/>
                  <a:pt x="8100147" y="4537594"/>
                </a:cubicBezTo>
                <a:cubicBezTo>
                  <a:pt x="8133777" y="4604854"/>
                  <a:pt x="8160200" y="4659302"/>
                  <a:pt x="8180218" y="4707345"/>
                </a:cubicBezTo>
                <a:cubicBezTo>
                  <a:pt x="8189026" y="4693733"/>
                  <a:pt x="8198634" y="4679320"/>
                  <a:pt x="8208243" y="4665708"/>
                </a:cubicBezTo>
                <a:lnTo>
                  <a:pt x="8219453" y="4649694"/>
                </a:lnTo>
                <a:cubicBezTo>
                  <a:pt x="8223456" y="4644089"/>
                  <a:pt x="8227460" y="4639284"/>
                  <a:pt x="8230662" y="4634480"/>
                </a:cubicBezTo>
                <a:lnTo>
                  <a:pt x="8253883" y="4604053"/>
                </a:lnTo>
                <a:cubicBezTo>
                  <a:pt x="8264292" y="4592043"/>
                  <a:pt x="8273901" y="4579231"/>
                  <a:pt x="8284310" y="4567221"/>
                </a:cubicBezTo>
                <a:lnTo>
                  <a:pt x="8168207" y="4160460"/>
                </a:lnTo>
                <a:cubicBezTo>
                  <a:pt x="8158599" y="4162061"/>
                  <a:pt x="8148990" y="4162862"/>
                  <a:pt x="8138581" y="4163663"/>
                </a:cubicBezTo>
                <a:lnTo>
                  <a:pt x="8099346" y="4167666"/>
                </a:lnTo>
                <a:lnTo>
                  <a:pt x="8060111" y="4170069"/>
                </a:lnTo>
                <a:lnTo>
                  <a:pt x="8040094" y="4170869"/>
                </a:lnTo>
                <a:cubicBezTo>
                  <a:pt x="8033688" y="4170869"/>
                  <a:pt x="8027282" y="4170869"/>
                  <a:pt x="8020076" y="4170869"/>
                </a:cubicBezTo>
                <a:lnTo>
                  <a:pt x="7980841" y="4170869"/>
                </a:lnTo>
                <a:cubicBezTo>
                  <a:pt x="7927994" y="4169268"/>
                  <a:pt x="7875948" y="4166065"/>
                  <a:pt x="7823902" y="4157257"/>
                </a:cubicBezTo>
                <a:lnTo>
                  <a:pt x="7804685" y="4154054"/>
                </a:lnTo>
                <a:cubicBezTo>
                  <a:pt x="7798279" y="4153254"/>
                  <a:pt x="7791874" y="4151652"/>
                  <a:pt x="7785468" y="4150051"/>
                </a:cubicBezTo>
                <a:cubicBezTo>
                  <a:pt x="7772656" y="4147649"/>
                  <a:pt x="7759845" y="4145246"/>
                  <a:pt x="7747034" y="4142044"/>
                </a:cubicBezTo>
                <a:cubicBezTo>
                  <a:pt x="7721411" y="4135638"/>
                  <a:pt x="7695788" y="4130033"/>
                  <a:pt x="7670966" y="4122026"/>
                </a:cubicBezTo>
                <a:cubicBezTo>
                  <a:pt x="7620522" y="4107613"/>
                  <a:pt x="7571678" y="4089197"/>
                  <a:pt x="7523636" y="4067578"/>
                </a:cubicBezTo>
                <a:cubicBezTo>
                  <a:pt x="7476394" y="4046759"/>
                  <a:pt x="7429953" y="4021937"/>
                  <a:pt x="7385113" y="3995514"/>
                </a:cubicBezTo>
                <a:cubicBezTo>
                  <a:pt x="7341074" y="3968290"/>
                  <a:pt x="7297836" y="3939464"/>
                  <a:pt x="7257800" y="3906635"/>
                </a:cubicBezTo>
                <a:cubicBezTo>
                  <a:pt x="7245789" y="3897026"/>
                  <a:pt x="7233779" y="3886617"/>
                  <a:pt x="7221768" y="3876208"/>
                </a:cubicBezTo>
                <a:close/>
                <a:moveTo>
                  <a:pt x="9182706" y="3736084"/>
                </a:moveTo>
                <a:cubicBezTo>
                  <a:pt x="9180304" y="3746493"/>
                  <a:pt x="9180304" y="3764109"/>
                  <a:pt x="9188311" y="3768913"/>
                </a:cubicBezTo>
                <a:cubicBezTo>
                  <a:pt x="9194717" y="3772116"/>
                  <a:pt x="9215535" y="3775319"/>
                  <a:pt x="9234752" y="3775319"/>
                </a:cubicBezTo>
                <a:cubicBezTo>
                  <a:pt x="9237155" y="3775319"/>
                  <a:pt x="9239557" y="3775319"/>
                  <a:pt x="9241959" y="3775319"/>
                </a:cubicBezTo>
                <a:cubicBezTo>
                  <a:pt x="9237955" y="3772917"/>
                  <a:pt x="9233952" y="3769714"/>
                  <a:pt x="9229948" y="3767312"/>
                </a:cubicBezTo>
                <a:cubicBezTo>
                  <a:pt x="9214735" y="3756902"/>
                  <a:pt x="9198721" y="3746493"/>
                  <a:pt x="9182706" y="3736084"/>
                </a:cubicBezTo>
                <a:close/>
                <a:moveTo>
                  <a:pt x="9190713" y="3701653"/>
                </a:moveTo>
                <a:cubicBezTo>
                  <a:pt x="9189912" y="3715265"/>
                  <a:pt x="9186710" y="3724073"/>
                  <a:pt x="9185108" y="3728877"/>
                </a:cubicBezTo>
                <a:cubicBezTo>
                  <a:pt x="9206727" y="3745692"/>
                  <a:pt x="9228346" y="3761706"/>
                  <a:pt x="9248364" y="3775318"/>
                </a:cubicBezTo>
                <a:cubicBezTo>
                  <a:pt x="9262777" y="3774518"/>
                  <a:pt x="9276389" y="3772115"/>
                  <a:pt x="9281193" y="3768913"/>
                </a:cubicBezTo>
                <a:cubicBezTo>
                  <a:pt x="9282795" y="3768112"/>
                  <a:pt x="9284396" y="3766510"/>
                  <a:pt x="9285197" y="3764108"/>
                </a:cubicBezTo>
                <a:cubicBezTo>
                  <a:pt x="9270784" y="3753699"/>
                  <a:pt x="9255571" y="3744091"/>
                  <a:pt x="9239556" y="3733681"/>
                </a:cubicBezTo>
                <a:cubicBezTo>
                  <a:pt x="9223542" y="3723272"/>
                  <a:pt x="9207528" y="3712062"/>
                  <a:pt x="9190713" y="3701653"/>
                </a:cubicBezTo>
                <a:close/>
                <a:moveTo>
                  <a:pt x="9188311" y="3659216"/>
                </a:moveTo>
                <a:cubicBezTo>
                  <a:pt x="9189912" y="3670426"/>
                  <a:pt x="9190713" y="3682437"/>
                  <a:pt x="9190713" y="3690444"/>
                </a:cubicBezTo>
                <a:cubicBezTo>
                  <a:pt x="9190713" y="3691244"/>
                  <a:pt x="9190713" y="3691244"/>
                  <a:pt x="9190713" y="3692045"/>
                </a:cubicBezTo>
                <a:cubicBezTo>
                  <a:pt x="9224343" y="3718469"/>
                  <a:pt x="9257172" y="3741689"/>
                  <a:pt x="9286798" y="3760105"/>
                </a:cubicBezTo>
                <a:cubicBezTo>
                  <a:pt x="9289200" y="3750497"/>
                  <a:pt x="9287599" y="3736885"/>
                  <a:pt x="9285197" y="3730479"/>
                </a:cubicBezTo>
                <a:cubicBezTo>
                  <a:pt x="9285197" y="3728077"/>
                  <a:pt x="9283596" y="3725675"/>
                  <a:pt x="9282795" y="3721671"/>
                </a:cubicBezTo>
                <a:cubicBezTo>
                  <a:pt x="9269183" y="3712063"/>
                  <a:pt x="9254770" y="3702454"/>
                  <a:pt x="9240357" y="3692846"/>
                </a:cubicBezTo>
                <a:cubicBezTo>
                  <a:pt x="9223542" y="3681636"/>
                  <a:pt x="9205927" y="3670426"/>
                  <a:pt x="9188311" y="3659216"/>
                </a:cubicBezTo>
                <a:close/>
                <a:moveTo>
                  <a:pt x="9181905" y="3611173"/>
                </a:moveTo>
                <a:cubicBezTo>
                  <a:pt x="9181905" y="3612774"/>
                  <a:pt x="9182706" y="3614376"/>
                  <a:pt x="9182706" y="3615977"/>
                </a:cubicBezTo>
                <a:cubicBezTo>
                  <a:pt x="9182706" y="3617579"/>
                  <a:pt x="9185108" y="3631991"/>
                  <a:pt x="9187510" y="3648006"/>
                </a:cubicBezTo>
                <a:cubicBezTo>
                  <a:pt x="9219538" y="3674429"/>
                  <a:pt x="9252367" y="3696849"/>
                  <a:pt x="9281994" y="3715265"/>
                </a:cubicBezTo>
                <a:cubicBezTo>
                  <a:pt x="9280392" y="3708860"/>
                  <a:pt x="9279592" y="3700852"/>
                  <a:pt x="9279592" y="3690443"/>
                </a:cubicBezTo>
                <a:cubicBezTo>
                  <a:pt x="9279592" y="3686440"/>
                  <a:pt x="9279592" y="3680835"/>
                  <a:pt x="9280392" y="3676030"/>
                </a:cubicBezTo>
                <a:cubicBezTo>
                  <a:pt x="9274787" y="3672828"/>
                  <a:pt x="9269983" y="3668824"/>
                  <a:pt x="9264378" y="3665621"/>
                </a:cubicBezTo>
                <a:cubicBezTo>
                  <a:pt x="9237154" y="3648006"/>
                  <a:pt x="9209129" y="3629589"/>
                  <a:pt x="9181905" y="3611173"/>
                </a:cubicBezTo>
                <a:close/>
                <a:moveTo>
                  <a:pt x="9182706" y="3575942"/>
                </a:moveTo>
                <a:cubicBezTo>
                  <a:pt x="9182706" y="3583148"/>
                  <a:pt x="9181905" y="3590355"/>
                  <a:pt x="9182706" y="3595159"/>
                </a:cubicBezTo>
                <a:cubicBezTo>
                  <a:pt x="9214734" y="3625586"/>
                  <a:pt x="9248364" y="3650408"/>
                  <a:pt x="9280392" y="3672027"/>
                </a:cubicBezTo>
                <a:cubicBezTo>
                  <a:pt x="9281193" y="3662419"/>
                  <a:pt x="9282795" y="3652810"/>
                  <a:pt x="9283595" y="3643202"/>
                </a:cubicBezTo>
                <a:cubicBezTo>
                  <a:pt x="9273987" y="3636796"/>
                  <a:pt x="9263578" y="3630390"/>
                  <a:pt x="9253969" y="3623184"/>
                </a:cubicBezTo>
                <a:cubicBezTo>
                  <a:pt x="9230748" y="3607970"/>
                  <a:pt x="9205926" y="3591956"/>
                  <a:pt x="9182706" y="3575942"/>
                </a:cubicBezTo>
                <a:close/>
                <a:moveTo>
                  <a:pt x="7265806" y="3544714"/>
                </a:moveTo>
                <a:cubicBezTo>
                  <a:pt x="7245789" y="3577543"/>
                  <a:pt x="7227372" y="3612774"/>
                  <a:pt x="7210557" y="3649607"/>
                </a:cubicBezTo>
                <a:cubicBezTo>
                  <a:pt x="7160113" y="3712863"/>
                  <a:pt x="7228173" y="3792133"/>
                  <a:pt x="7224170" y="3863397"/>
                </a:cubicBezTo>
                <a:cubicBezTo>
                  <a:pt x="7228173" y="3866599"/>
                  <a:pt x="7232977" y="3869802"/>
                  <a:pt x="7236981" y="3872204"/>
                </a:cubicBezTo>
                <a:cubicBezTo>
                  <a:pt x="7247390" y="3879411"/>
                  <a:pt x="7257799" y="3886617"/>
                  <a:pt x="7269009" y="3893023"/>
                </a:cubicBezTo>
                <a:cubicBezTo>
                  <a:pt x="7312248" y="3920247"/>
                  <a:pt x="7356287" y="3945069"/>
                  <a:pt x="7401927" y="3967489"/>
                </a:cubicBezTo>
                <a:cubicBezTo>
                  <a:pt x="7447568" y="3989909"/>
                  <a:pt x="7494009" y="4009926"/>
                  <a:pt x="7541251" y="4026741"/>
                </a:cubicBezTo>
                <a:cubicBezTo>
                  <a:pt x="7553261" y="4030745"/>
                  <a:pt x="7565272" y="4035549"/>
                  <a:pt x="7576482" y="4039553"/>
                </a:cubicBezTo>
                <a:lnTo>
                  <a:pt x="7612514" y="4050763"/>
                </a:lnTo>
                <a:cubicBezTo>
                  <a:pt x="7636535" y="4057969"/>
                  <a:pt x="7660556" y="4064375"/>
                  <a:pt x="7685378" y="4069980"/>
                </a:cubicBezTo>
                <a:cubicBezTo>
                  <a:pt x="7709400" y="4076385"/>
                  <a:pt x="7734222" y="4080389"/>
                  <a:pt x="7759044" y="4085994"/>
                </a:cubicBezTo>
                <a:lnTo>
                  <a:pt x="7795876" y="4091599"/>
                </a:lnTo>
                <a:cubicBezTo>
                  <a:pt x="7802282" y="4092400"/>
                  <a:pt x="7807887" y="4094001"/>
                  <a:pt x="7814293" y="4094802"/>
                </a:cubicBezTo>
                <a:lnTo>
                  <a:pt x="7832709" y="4097204"/>
                </a:lnTo>
                <a:cubicBezTo>
                  <a:pt x="7882353" y="4103609"/>
                  <a:pt x="7931997" y="4105211"/>
                  <a:pt x="7981641" y="4106012"/>
                </a:cubicBezTo>
                <a:lnTo>
                  <a:pt x="8019274" y="4105211"/>
                </a:lnTo>
                <a:cubicBezTo>
                  <a:pt x="8025680" y="4105211"/>
                  <a:pt x="8032086" y="4105211"/>
                  <a:pt x="8037691" y="4104410"/>
                </a:cubicBezTo>
                <a:lnTo>
                  <a:pt x="8056107" y="4102809"/>
                </a:lnTo>
                <a:lnTo>
                  <a:pt x="8092940" y="4100407"/>
                </a:lnTo>
                <a:lnTo>
                  <a:pt x="8129772" y="4095602"/>
                </a:lnTo>
                <a:cubicBezTo>
                  <a:pt x="8136178" y="4094802"/>
                  <a:pt x="8141783" y="4094001"/>
                  <a:pt x="8148189" y="4093200"/>
                </a:cubicBezTo>
                <a:lnTo>
                  <a:pt x="8083331" y="3866599"/>
                </a:lnTo>
                <a:cubicBezTo>
                  <a:pt x="8060111" y="3866599"/>
                  <a:pt x="8036089" y="3865799"/>
                  <a:pt x="8012869" y="3864998"/>
                </a:cubicBezTo>
                <a:lnTo>
                  <a:pt x="7994452" y="3864197"/>
                </a:lnTo>
                <a:cubicBezTo>
                  <a:pt x="7988047" y="3863397"/>
                  <a:pt x="7981641" y="3863397"/>
                  <a:pt x="7976036" y="3862596"/>
                </a:cubicBezTo>
                <a:lnTo>
                  <a:pt x="7938403" y="3858592"/>
                </a:lnTo>
                <a:cubicBezTo>
                  <a:pt x="7925591" y="3856991"/>
                  <a:pt x="7913581" y="3855389"/>
                  <a:pt x="7901570" y="3852987"/>
                </a:cubicBezTo>
                <a:lnTo>
                  <a:pt x="7883154" y="3849784"/>
                </a:lnTo>
                <a:cubicBezTo>
                  <a:pt x="7876748" y="3848984"/>
                  <a:pt x="7871143" y="3847382"/>
                  <a:pt x="7864737" y="3846582"/>
                </a:cubicBezTo>
                <a:lnTo>
                  <a:pt x="7827905" y="3839375"/>
                </a:lnTo>
                <a:cubicBezTo>
                  <a:pt x="7815894" y="3836973"/>
                  <a:pt x="7803883" y="3833770"/>
                  <a:pt x="7791072" y="3830567"/>
                </a:cubicBezTo>
                <a:lnTo>
                  <a:pt x="7772656" y="3825763"/>
                </a:lnTo>
                <a:lnTo>
                  <a:pt x="7755040" y="3820158"/>
                </a:lnTo>
                <a:cubicBezTo>
                  <a:pt x="7743030" y="3816155"/>
                  <a:pt x="7731019" y="3812952"/>
                  <a:pt x="7719008" y="3809749"/>
                </a:cubicBezTo>
                <a:cubicBezTo>
                  <a:pt x="7624524" y="3778521"/>
                  <a:pt x="7533244" y="3736884"/>
                  <a:pt x="7449169" y="3684037"/>
                </a:cubicBezTo>
                <a:cubicBezTo>
                  <a:pt x="7407532" y="3658415"/>
                  <a:pt x="7366696" y="3630390"/>
                  <a:pt x="7328262" y="3599162"/>
                </a:cubicBezTo>
                <a:cubicBezTo>
                  <a:pt x="7306643" y="3581547"/>
                  <a:pt x="7285824" y="3563130"/>
                  <a:pt x="7265806" y="3544714"/>
                </a:cubicBezTo>
                <a:close/>
                <a:moveTo>
                  <a:pt x="9188311" y="3540711"/>
                </a:moveTo>
                <a:cubicBezTo>
                  <a:pt x="9185909" y="3541512"/>
                  <a:pt x="9184308" y="3551921"/>
                  <a:pt x="9183507" y="3563932"/>
                </a:cubicBezTo>
                <a:cubicBezTo>
                  <a:pt x="9217938" y="3593558"/>
                  <a:pt x="9252368" y="3618380"/>
                  <a:pt x="9284396" y="3639198"/>
                </a:cubicBezTo>
                <a:cubicBezTo>
                  <a:pt x="9285998" y="3627188"/>
                  <a:pt x="9287599" y="3617579"/>
                  <a:pt x="9287599" y="3615978"/>
                </a:cubicBezTo>
                <a:cubicBezTo>
                  <a:pt x="9288400" y="3611173"/>
                  <a:pt x="9289201" y="3607170"/>
                  <a:pt x="9287599" y="3605569"/>
                </a:cubicBezTo>
                <a:cubicBezTo>
                  <a:pt x="9287599" y="3605569"/>
                  <a:pt x="9287599" y="3605569"/>
                  <a:pt x="9286799" y="3605569"/>
                </a:cubicBezTo>
                <a:cubicBezTo>
                  <a:pt x="9279592" y="3600764"/>
                  <a:pt x="9271585" y="3595159"/>
                  <a:pt x="9264379" y="3590355"/>
                </a:cubicBezTo>
                <a:cubicBezTo>
                  <a:pt x="9239557" y="3573540"/>
                  <a:pt x="9213934" y="3557526"/>
                  <a:pt x="9188311" y="3540711"/>
                </a:cubicBezTo>
                <a:close/>
                <a:moveTo>
                  <a:pt x="9831281" y="3522294"/>
                </a:moveTo>
                <a:lnTo>
                  <a:pt x="9873719" y="3647205"/>
                </a:lnTo>
                <a:lnTo>
                  <a:pt x="9788844" y="3647205"/>
                </a:lnTo>
                <a:close/>
                <a:moveTo>
                  <a:pt x="8369985" y="3522294"/>
                </a:moveTo>
                <a:lnTo>
                  <a:pt x="8412423" y="3647205"/>
                </a:lnTo>
                <a:lnTo>
                  <a:pt x="8327548" y="3647205"/>
                </a:lnTo>
                <a:close/>
                <a:moveTo>
                  <a:pt x="8947297" y="3512686"/>
                </a:moveTo>
                <a:lnTo>
                  <a:pt x="9015357" y="3512686"/>
                </a:lnTo>
                <a:cubicBezTo>
                  <a:pt x="9026567" y="3512686"/>
                  <a:pt x="9036976" y="3515889"/>
                  <a:pt x="9044983" y="3522294"/>
                </a:cubicBezTo>
                <a:cubicBezTo>
                  <a:pt x="9052991" y="3528700"/>
                  <a:pt x="9056994" y="3537508"/>
                  <a:pt x="9056994" y="3547917"/>
                </a:cubicBezTo>
                <a:cubicBezTo>
                  <a:pt x="9056994" y="3559127"/>
                  <a:pt x="9052991" y="3567935"/>
                  <a:pt x="9044983" y="3574340"/>
                </a:cubicBezTo>
                <a:cubicBezTo>
                  <a:pt x="9036976" y="3580746"/>
                  <a:pt x="9027368" y="3583949"/>
                  <a:pt x="9015357" y="3583949"/>
                </a:cubicBezTo>
                <a:lnTo>
                  <a:pt x="8947297" y="3583949"/>
                </a:lnTo>
                <a:close/>
                <a:moveTo>
                  <a:pt x="9193916" y="3503077"/>
                </a:moveTo>
                <a:cubicBezTo>
                  <a:pt x="9191514" y="3512686"/>
                  <a:pt x="9188311" y="3519892"/>
                  <a:pt x="9187510" y="3525497"/>
                </a:cubicBezTo>
                <a:cubicBezTo>
                  <a:pt x="9221140" y="3555123"/>
                  <a:pt x="9255570" y="3580746"/>
                  <a:pt x="9287599" y="3601564"/>
                </a:cubicBezTo>
                <a:cubicBezTo>
                  <a:pt x="9288399" y="3594358"/>
                  <a:pt x="9288399" y="3578344"/>
                  <a:pt x="9286798" y="3563931"/>
                </a:cubicBezTo>
                <a:cubicBezTo>
                  <a:pt x="9278791" y="3559127"/>
                  <a:pt x="9271585" y="3553522"/>
                  <a:pt x="9263578" y="3548717"/>
                </a:cubicBezTo>
                <a:cubicBezTo>
                  <a:pt x="9240357" y="3533504"/>
                  <a:pt x="9217136" y="3518290"/>
                  <a:pt x="9193916" y="3503077"/>
                </a:cubicBezTo>
                <a:close/>
                <a:moveTo>
                  <a:pt x="9205125" y="3471049"/>
                </a:moveTo>
                <a:cubicBezTo>
                  <a:pt x="9204325" y="3474252"/>
                  <a:pt x="9203524" y="3476654"/>
                  <a:pt x="9202723" y="3479857"/>
                </a:cubicBezTo>
                <a:cubicBezTo>
                  <a:pt x="9201122" y="3484661"/>
                  <a:pt x="9199520" y="3489465"/>
                  <a:pt x="9197919" y="3494270"/>
                </a:cubicBezTo>
                <a:cubicBezTo>
                  <a:pt x="9228346" y="3519892"/>
                  <a:pt x="9257972" y="3541511"/>
                  <a:pt x="9286798" y="3560728"/>
                </a:cubicBezTo>
                <a:cubicBezTo>
                  <a:pt x="9285196" y="3549519"/>
                  <a:pt x="9283595" y="3541511"/>
                  <a:pt x="9281994" y="3540711"/>
                </a:cubicBezTo>
                <a:cubicBezTo>
                  <a:pt x="9285196" y="3540711"/>
                  <a:pt x="9283595" y="3534305"/>
                  <a:pt x="9283595" y="3529501"/>
                </a:cubicBezTo>
                <a:cubicBezTo>
                  <a:pt x="9283595" y="3527099"/>
                  <a:pt x="9282794" y="3524697"/>
                  <a:pt x="9281193" y="3520693"/>
                </a:cubicBezTo>
                <a:cubicBezTo>
                  <a:pt x="9278791" y="3519092"/>
                  <a:pt x="9277189" y="3517490"/>
                  <a:pt x="9274787" y="3516689"/>
                </a:cubicBezTo>
                <a:cubicBezTo>
                  <a:pt x="9251567" y="3501476"/>
                  <a:pt x="9228346" y="3486262"/>
                  <a:pt x="9205125" y="3471049"/>
                </a:cubicBezTo>
                <a:close/>
                <a:moveTo>
                  <a:pt x="9210731" y="3441423"/>
                </a:moveTo>
                <a:cubicBezTo>
                  <a:pt x="9210731" y="3442224"/>
                  <a:pt x="9210731" y="3443024"/>
                  <a:pt x="9210731" y="3443825"/>
                </a:cubicBezTo>
                <a:cubicBezTo>
                  <a:pt x="9209930" y="3448629"/>
                  <a:pt x="9209129" y="3454234"/>
                  <a:pt x="9207528" y="3459839"/>
                </a:cubicBezTo>
                <a:cubicBezTo>
                  <a:pt x="9231549" y="3480658"/>
                  <a:pt x="9255571" y="3498273"/>
                  <a:pt x="9278791" y="3514288"/>
                </a:cubicBezTo>
                <a:cubicBezTo>
                  <a:pt x="9276389" y="3504679"/>
                  <a:pt x="9271585" y="3491868"/>
                  <a:pt x="9267581" y="3479056"/>
                </a:cubicBezTo>
                <a:cubicBezTo>
                  <a:pt x="9265980" y="3477455"/>
                  <a:pt x="9265179" y="3476654"/>
                  <a:pt x="9263578" y="3475854"/>
                </a:cubicBezTo>
                <a:cubicBezTo>
                  <a:pt x="9245962" y="3464644"/>
                  <a:pt x="9228347" y="3452633"/>
                  <a:pt x="9210731" y="3441423"/>
                </a:cubicBezTo>
                <a:close/>
                <a:moveTo>
                  <a:pt x="9777634" y="3437419"/>
                </a:moveTo>
                <a:lnTo>
                  <a:pt x="9652723" y="3768913"/>
                </a:lnTo>
                <a:lnTo>
                  <a:pt x="9749609" y="3768913"/>
                </a:lnTo>
                <a:lnTo>
                  <a:pt x="9766424" y="3720870"/>
                </a:lnTo>
                <a:lnTo>
                  <a:pt x="9896939" y="3720870"/>
                </a:lnTo>
                <a:lnTo>
                  <a:pt x="9913754" y="3768913"/>
                </a:lnTo>
                <a:lnTo>
                  <a:pt x="10010640" y="3768913"/>
                </a:lnTo>
                <a:lnTo>
                  <a:pt x="9884929" y="3437419"/>
                </a:lnTo>
                <a:close/>
                <a:moveTo>
                  <a:pt x="8861621" y="3437419"/>
                </a:moveTo>
                <a:lnTo>
                  <a:pt x="8861621" y="3768913"/>
                </a:lnTo>
                <a:lnTo>
                  <a:pt x="8947297" y="3768913"/>
                </a:lnTo>
                <a:lnTo>
                  <a:pt x="8947297" y="3658415"/>
                </a:lnTo>
                <a:lnTo>
                  <a:pt x="8991336" y="3658415"/>
                </a:lnTo>
                <a:lnTo>
                  <a:pt x="9047386" y="3769714"/>
                </a:lnTo>
                <a:lnTo>
                  <a:pt x="9145873" y="3769714"/>
                </a:lnTo>
                <a:lnTo>
                  <a:pt x="9077813" y="3647205"/>
                </a:lnTo>
                <a:cubicBezTo>
                  <a:pt x="9095428" y="3640799"/>
                  <a:pt x="9111442" y="3629589"/>
                  <a:pt x="9124254" y="3612774"/>
                </a:cubicBezTo>
                <a:cubicBezTo>
                  <a:pt x="9137065" y="3595960"/>
                  <a:pt x="9144272" y="3574340"/>
                  <a:pt x="9144272" y="3547917"/>
                </a:cubicBezTo>
                <a:cubicBezTo>
                  <a:pt x="9144272" y="3515889"/>
                  <a:pt x="9133862" y="3489465"/>
                  <a:pt x="9113044" y="3468647"/>
                </a:cubicBezTo>
                <a:cubicBezTo>
                  <a:pt x="9092225" y="3447828"/>
                  <a:pt x="9064201" y="3437419"/>
                  <a:pt x="9028169" y="3437419"/>
                </a:cubicBezTo>
                <a:close/>
                <a:moveTo>
                  <a:pt x="8573366" y="3437419"/>
                </a:moveTo>
                <a:lnTo>
                  <a:pt x="8573366" y="3769714"/>
                </a:lnTo>
                <a:lnTo>
                  <a:pt x="8659042" y="3769714"/>
                </a:lnTo>
                <a:lnTo>
                  <a:pt x="8659042" y="3638397"/>
                </a:lnTo>
                <a:lnTo>
                  <a:pt x="8812778" y="3638397"/>
                </a:lnTo>
                <a:lnTo>
                  <a:pt x="8812778" y="3563931"/>
                </a:lnTo>
                <a:lnTo>
                  <a:pt x="8659042" y="3563931"/>
                </a:lnTo>
                <a:lnTo>
                  <a:pt x="8659042" y="3511885"/>
                </a:lnTo>
                <a:lnTo>
                  <a:pt x="8816782" y="3511885"/>
                </a:lnTo>
                <a:lnTo>
                  <a:pt x="8816782" y="3437419"/>
                </a:lnTo>
                <a:close/>
                <a:moveTo>
                  <a:pt x="8316338" y="3437419"/>
                </a:moveTo>
                <a:lnTo>
                  <a:pt x="8191427" y="3768913"/>
                </a:lnTo>
                <a:lnTo>
                  <a:pt x="8288313" y="3768913"/>
                </a:lnTo>
                <a:lnTo>
                  <a:pt x="8305128" y="3720870"/>
                </a:lnTo>
                <a:lnTo>
                  <a:pt x="8435643" y="3720870"/>
                </a:lnTo>
                <a:lnTo>
                  <a:pt x="8452458" y="3768913"/>
                </a:lnTo>
                <a:lnTo>
                  <a:pt x="8549344" y="3768913"/>
                </a:lnTo>
                <a:lnTo>
                  <a:pt x="8423633" y="3437419"/>
                </a:lnTo>
                <a:close/>
                <a:moveTo>
                  <a:pt x="9502190" y="3434216"/>
                </a:moveTo>
                <a:cubicBezTo>
                  <a:pt x="9450144" y="3434216"/>
                  <a:pt x="9407706" y="3450230"/>
                  <a:pt x="9373275" y="3482259"/>
                </a:cubicBezTo>
                <a:cubicBezTo>
                  <a:pt x="9339646" y="3514287"/>
                  <a:pt x="9322030" y="3555123"/>
                  <a:pt x="9322030" y="3606369"/>
                </a:cubicBezTo>
                <a:cubicBezTo>
                  <a:pt x="9322030" y="3656813"/>
                  <a:pt x="9338845" y="3697650"/>
                  <a:pt x="9373275" y="3729678"/>
                </a:cubicBezTo>
                <a:cubicBezTo>
                  <a:pt x="9407706" y="3761706"/>
                  <a:pt x="9450144" y="3777721"/>
                  <a:pt x="9501389" y="3777721"/>
                </a:cubicBezTo>
                <a:cubicBezTo>
                  <a:pt x="9539022" y="3775318"/>
                  <a:pt x="9569449" y="3767311"/>
                  <a:pt x="9592670" y="3749696"/>
                </a:cubicBezTo>
                <a:cubicBezTo>
                  <a:pt x="9616691" y="3732881"/>
                  <a:pt x="9634307" y="3711262"/>
                  <a:pt x="9647118" y="3686440"/>
                </a:cubicBezTo>
                <a:lnTo>
                  <a:pt x="9573453" y="3652009"/>
                </a:lnTo>
                <a:cubicBezTo>
                  <a:pt x="9567848" y="3665621"/>
                  <a:pt x="9558239" y="3676831"/>
                  <a:pt x="9545428" y="3686440"/>
                </a:cubicBezTo>
                <a:cubicBezTo>
                  <a:pt x="9532617" y="3696048"/>
                  <a:pt x="9518204" y="3700052"/>
                  <a:pt x="9502190" y="3700052"/>
                </a:cubicBezTo>
                <a:cubicBezTo>
                  <a:pt x="9474966" y="3700052"/>
                  <a:pt x="9453346" y="3691244"/>
                  <a:pt x="9435731" y="3672827"/>
                </a:cubicBezTo>
                <a:cubicBezTo>
                  <a:pt x="9418115" y="3654411"/>
                  <a:pt x="9409307" y="3631991"/>
                  <a:pt x="9409307" y="3604767"/>
                </a:cubicBezTo>
                <a:cubicBezTo>
                  <a:pt x="9409307" y="3577543"/>
                  <a:pt x="9418115" y="3555123"/>
                  <a:pt x="9435731" y="3536707"/>
                </a:cubicBezTo>
                <a:cubicBezTo>
                  <a:pt x="9453346" y="3518291"/>
                  <a:pt x="9474966" y="3509483"/>
                  <a:pt x="9502190" y="3509483"/>
                </a:cubicBezTo>
                <a:cubicBezTo>
                  <a:pt x="9517403" y="3509483"/>
                  <a:pt x="9531816" y="3514287"/>
                  <a:pt x="9545428" y="3523095"/>
                </a:cubicBezTo>
                <a:cubicBezTo>
                  <a:pt x="9558239" y="3532703"/>
                  <a:pt x="9567848" y="3543913"/>
                  <a:pt x="9573453" y="3557525"/>
                </a:cubicBezTo>
                <a:lnTo>
                  <a:pt x="9647118" y="3523095"/>
                </a:lnTo>
                <a:cubicBezTo>
                  <a:pt x="9617492" y="3463842"/>
                  <a:pt x="9568649" y="3434216"/>
                  <a:pt x="9502190" y="3434216"/>
                </a:cubicBezTo>
                <a:close/>
                <a:moveTo>
                  <a:pt x="9212332" y="3416601"/>
                </a:moveTo>
                <a:cubicBezTo>
                  <a:pt x="9212332" y="3420605"/>
                  <a:pt x="9212332" y="3426210"/>
                  <a:pt x="9212332" y="3431814"/>
                </a:cubicBezTo>
                <a:cubicBezTo>
                  <a:pt x="9229948" y="3447028"/>
                  <a:pt x="9248364" y="3460640"/>
                  <a:pt x="9265980" y="3472651"/>
                </a:cubicBezTo>
                <a:cubicBezTo>
                  <a:pt x="9263578" y="3464644"/>
                  <a:pt x="9261175" y="3455836"/>
                  <a:pt x="9259574" y="3447829"/>
                </a:cubicBezTo>
                <a:cubicBezTo>
                  <a:pt x="9257972" y="3447028"/>
                  <a:pt x="9256371" y="3445427"/>
                  <a:pt x="9254770" y="3444626"/>
                </a:cubicBezTo>
                <a:cubicBezTo>
                  <a:pt x="9240357" y="3435017"/>
                  <a:pt x="9226745" y="3426210"/>
                  <a:pt x="9212332" y="3416601"/>
                </a:cubicBezTo>
                <a:close/>
                <a:moveTo>
                  <a:pt x="9213934" y="3384572"/>
                </a:moveTo>
                <a:cubicBezTo>
                  <a:pt x="9213133" y="3385373"/>
                  <a:pt x="9212332" y="3386173"/>
                  <a:pt x="9211532" y="3386974"/>
                </a:cubicBezTo>
                <a:cubicBezTo>
                  <a:pt x="9210731" y="3389376"/>
                  <a:pt x="9210731" y="3391778"/>
                  <a:pt x="9212332" y="3392579"/>
                </a:cubicBezTo>
                <a:cubicBezTo>
                  <a:pt x="9213934" y="3394181"/>
                  <a:pt x="9213934" y="3394981"/>
                  <a:pt x="9213934" y="3396583"/>
                </a:cubicBezTo>
                <a:cubicBezTo>
                  <a:pt x="9213934" y="3397383"/>
                  <a:pt x="9211532" y="3402188"/>
                  <a:pt x="9210731" y="3406191"/>
                </a:cubicBezTo>
                <a:cubicBezTo>
                  <a:pt x="9226745" y="3419803"/>
                  <a:pt x="9242759" y="3431814"/>
                  <a:pt x="9258774" y="3443024"/>
                </a:cubicBezTo>
                <a:cubicBezTo>
                  <a:pt x="9257172" y="3433415"/>
                  <a:pt x="9257973" y="3420604"/>
                  <a:pt x="9257973" y="3414999"/>
                </a:cubicBezTo>
                <a:cubicBezTo>
                  <a:pt x="9257973" y="3414999"/>
                  <a:pt x="9257973" y="3414999"/>
                  <a:pt x="9258774" y="3414198"/>
                </a:cubicBezTo>
                <a:cubicBezTo>
                  <a:pt x="9257172" y="3413398"/>
                  <a:pt x="9256371" y="3412597"/>
                  <a:pt x="9254770" y="3411796"/>
                </a:cubicBezTo>
                <a:cubicBezTo>
                  <a:pt x="9241158" y="3402988"/>
                  <a:pt x="9227546" y="3394181"/>
                  <a:pt x="9213934" y="3384572"/>
                </a:cubicBezTo>
                <a:close/>
                <a:moveTo>
                  <a:pt x="9235553" y="3382971"/>
                </a:moveTo>
                <a:cubicBezTo>
                  <a:pt x="9230749" y="3382971"/>
                  <a:pt x="9225945" y="3382971"/>
                  <a:pt x="9222742" y="3383772"/>
                </a:cubicBezTo>
                <a:cubicBezTo>
                  <a:pt x="9235553" y="3393380"/>
                  <a:pt x="9248365" y="3402989"/>
                  <a:pt x="9261176" y="3411797"/>
                </a:cubicBezTo>
                <a:cubicBezTo>
                  <a:pt x="9260375" y="3410996"/>
                  <a:pt x="9260375" y="3410195"/>
                  <a:pt x="9260375" y="3409394"/>
                </a:cubicBezTo>
                <a:cubicBezTo>
                  <a:pt x="9260375" y="3406192"/>
                  <a:pt x="9256372" y="3398985"/>
                  <a:pt x="9256372" y="3397384"/>
                </a:cubicBezTo>
                <a:cubicBezTo>
                  <a:pt x="9256372" y="3396583"/>
                  <a:pt x="9256372" y="3394982"/>
                  <a:pt x="9257973" y="3393380"/>
                </a:cubicBezTo>
                <a:cubicBezTo>
                  <a:pt x="9259575" y="3391779"/>
                  <a:pt x="9259575" y="3389377"/>
                  <a:pt x="9258774" y="3387775"/>
                </a:cubicBezTo>
                <a:cubicBezTo>
                  <a:pt x="9257973" y="3385373"/>
                  <a:pt x="9254770" y="3384572"/>
                  <a:pt x="9253169" y="3383772"/>
                </a:cubicBezTo>
                <a:cubicBezTo>
                  <a:pt x="9251568" y="3383772"/>
                  <a:pt x="9243561" y="3382971"/>
                  <a:pt x="9235553" y="3382971"/>
                </a:cubicBezTo>
                <a:close/>
                <a:moveTo>
                  <a:pt x="7439561" y="3322117"/>
                </a:moveTo>
                <a:cubicBezTo>
                  <a:pt x="7438760" y="3330124"/>
                  <a:pt x="7438760" y="3338932"/>
                  <a:pt x="7439561" y="3347740"/>
                </a:cubicBezTo>
                <a:cubicBezTo>
                  <a:pt x="7372301" y="3399786"/>
                  <a:pt x="7316251" y="3463843"/>
                  <a:pt x="7270611" y="3536707"/>
                </a:cubicBezTo>
                <a:cubicBezTo>
                  <a:pt x="7273814" y="3539109"/>
                  <a:pt x="7276216" y="3540711"/>
                  <a:pt x="7279419" y="3543113"/>
                </a:cubicBezTo>
                <a:cubicBezTo>
                  <a:pt x="7299437" y="3557526"/>
                  <a:pt x="7319454" y="3571138"/>
                  <a:pt x="7339472" y="3583949"/>
                </a:cubicBezTo>
                <a:cubicBezTo>
                  <a:pt x="7380308" y="3609572"/>
                  <a:pt x="7422746" y="3634394"/>
                  <a:pt x="7465984" y="3655212"/>
                </a:cubicBezTo>
                <a:cubicBezTo>
                  <a:pt x="7551660" y="3698451"/>
                  <a:pt x="7642140" y="3732881"/>
                  <a:pt x="7734222" y="3757703"/>
                </a:cubicBezTo>
                <a:cubicBezTo>
                  <a:pt x="7826304" y="3781724"/>
                  <a:pt x="7920787" y="3796938"/>
                  <a:pt x="8016072" y="3798539"/>
                </a:cubicBezTo>
                <a:lnTo>
                  <a:pt x="8051303" y="3799340"/>
                </a:lnTo>
                <a:lnTo>
                  <a:pt x="8086534" y="3798539"/>
                </a:lnTo>
                <a:cubicBezTo>
                  <a:pt x="8090538" y="3798539"/>
                  <a:pt x="8094541" y="3798539"/>
                  <a:pt x="8099346" y="3798539"/>
                </a:cubicBezTo>
                <a:lnTo>
                  <a:pt x="8179417" y="3584750"/>
                </a:lnTo>
                <a:lnTo>
                  <a:pt x="8171410" y="3584750"/>
                </a:lnTo>
                <a:cubicBezTo>
                  <a:pt x="8165805" y="3584750"/>
                  <a:pt x="8159399" y="3584750"/>
                  <a:pt x="8153794" y="3584750"/>
                </a:cubicBezTo>
                <a:lnTo>
                  <a:pt x="8136178" y="3583949"/>
                </a:lnTo>
                <a:lnTo>
                  <a:pt x="8100947" y="3582348"/>
                </a:lnTo>
                <a:cubicBezTo>
                  <a:pt x="8088936" y="3581547"/>
                  <a:pt x="8077726" y="3579946"/>
                  <a:pt x="8065716" y="3579145"/>
                </a:cubicBezTo>
                <a:cubicBezTo>
                  <a:pt x="8018474" y="3575141"/>
                  <a:pt x="7972033" y="3566333"/>
                  <a:pt x="7926392" y="3556725"/>
                </a:cubicBezTo>
                <a:cubicBezTo>
                  <a:pt x="7880752" y="3546316"/>
                  <a:pt x="7835111" y="3533504"/>
                  <a:pt x="7791072" y="3517490"/>
                </a:cubicBezTo>
                <a:cubicBezTo>
                  <a:pt x="7702194" y="3486263"/>
                  <a:pt x="7618119" y="3444626"/>
                  <a:pt x="7539650" y="3394181"/>
                </a:cubicBezTo>
                <a:cubicBezTo>
                  <a:pt x="7505219" y="3371761"/>
                  <a:pt x="7471589" y="3347740"/>
                  <a:pt x="7439561" y="3322117"/>
                </a:cubicBezTo>
                <a:close/>
                <a:moveTo>
                  <a:pt x="8122214" y="3038898"/>
                </a:moveTo>
                <a:cubicBezTo>
                  <a:pt x="8115335" y="3038540"/>
                  <a:pt x="8107453" y="3040166"/>
                  <a:pt x="8098545" y="3044270"/>
                </a:cubicBezTo>
                <a:cubicBezTo>
                  <a:pt x="8029684" y="3062686"/>
                  <a:pt x="7959221" y="3049875"/>
                  <a:pt x="7890360" y="3058683"/>
                </a:cubicBezTo>
                <a:cubicBezTo>
                  <a:pt x="7812691" y="3053078"/>
                  <a:pt x="7737425" y="3150764"/>
                  <a:pt x="7674969" y="3119537"/>
                </a:cubicBezTo>
                <a:cubicBezTo>
                  <a:pt x="7599703" y="3138754"/>
                  <a:pt x="7572478" y="3055480"/>
                  <a:pt x="7548457" y="3169181"/>
                </a:cubicBezTo>
                <a:cubicBezTo>
                  <a:pt x="7492407" y="3209216"/>
                  <a:pt x="7452372" y="3239643"/>
                  <a:pt x="7441162" y="3298896"/>
                </a:cubicBezTo>
                <a:cubicBezTo>
                  <a:pt x="7477995" y="3322116"/>
                  <a:pt x="7516429" y="3344536"/>
                  <a:pt x="7555664" y="3364554"/>
                </a:cubicBezTo>
                <a:cubicBezTo>
                  <a:pt x="7636535" y="3406191"/>
                  <a:pt x="7720610" y="3440621"/>
                  <a:pt x="7807086" y="3465443"/>
                </a:cubicBezTo>
                <a:lnTo>
                  <a:pt x="7839915" y="3474251"/>
                </a:lnTo>
                <a:cubicBezTo>
                  <a:pt x="7851125" y="3477454"/>
                  <a:pt x="7861535" y="3479856"/>
                  <a:pt x="7872745" y="3482258"/>
                </a:cubicBezTo>
                <a:cubicBezTo>
                  <a:pt x="7894364" y="3487863"/>
                  <a:pt x="7916784" y="3491867"/>
                  <a:pt x="7938403" y="3496671"/>
                </a:cubicBezTo>
                <a:cubicBezTo>
                  <a:pt x="7982442" y="3503877"/>
                  <a:pt x="8027282" y="3510283"/>
                  <a:pt x="8071321" y="3513486"/>
                </a:cubicBezTo>
                <a:cubicBezTo>
                  <a:pt x="8082531" y="3514287"/>
                  <a:pt x="8093740" y="3515087"/>
                  <a:pt x="8104950" y="3515888"/>
                </a:cubicBezTo>
                <a:lnTo>
                  <a:pt x="8138580" y="3516689"/>
                </a:lnTo>
                <a:lnTo>
                  <a:pt x="8155395" y="3517490"/>
                </a:lnTo>
                <a:cubicBezTo>
                  <a:pt x="8161000" y="3517490"/>
                  <a:pt x="8166605" y="3517490"/>
                  <a:pt x="8172210" y="3517490"/>
                </a:cubicBezTo>
                <a:lnTo>
                  <a:pt x="8205840" y="3516689"/>
                </a:lnTo>
                <a:cubicBezTo>
                  <a:pt x="8205840" y="3516689"/>
                  <a:pt x="8206641" y="3516689"/>
                  <a:pt x="8206641" y="3516689"/>
                </a:cubicBezTo>
                <a:lnTo>
                  <a:pt x="8264292" y="3362953"/>
                </a:lnTo>
                <a:lnTo>
                  <a:pt x="8475679" y="3362953"/>
                </a:lnTo>
                <a:lnTo>
                  <a:pt x="8498099" y="3422205"/>
                </a:lnTo>
                <a:lnTo>
                  <a:pt x="8498099" y="3362953"/>
                </a:lnTo>
                <a:lnTo>
                  <a:pt x="8872030" y="3362953"/>
                </a:lnTo>
                <a:cubicBezTo>
                  <a:pt x="8880038" y="3360550"/>
                  <a:pt x="8887244" y="3358949"/>
                  <a:pt x="8895251" y="3356547"/>
                </a:cubicBezTo>
                <a:cubicBezTo>
                  <a:pt x="8881639" y="3309305"/>
                  <a:pt x="8868027" y="3263665"/>
                  <a:pt x="8810376" y="3302099"/>
                </a:cubicBezTo>
                <a:cubicBezTo>
                  <a:pt x="8729504" y="3315711"/>
                  <a:pt x="8627814" y="3279679"/>
                  <a:pt x="8570964" y="3236440"/>
                </a:cubicBezTo>
                <a:cubicBezTo>
                  <a:pt x="8391605" y="3202811"/>
                  <a:pt x="8561355" y="3406992"/>
                  <a:pt x="8336356" y="3294892"/>
                </a:cubicBezTo>
                <a:cubicBezTo>
                  <a:pt x="8293117" y="3212419"/>
                  <a:pt x="8174612" y="3248451"/>
                  <a:pt x="8127370" y="3169181"/>
                </a:cubicBezTo>
                <a:cubicBezTo>
                  <a:pt x="8169407" y="3141156"/>
                  <a:pt x="8170371" y="3041405"/>
                  <a:pt x="8122214" y="3038898"/>
                </a:cubicBezTo>
                <a:close/>
                <a:moveTo>
                  <a:pt x="2205490" y="1039037"/>
                </a:moveTo>
                <a:lnTo>
                  <a:pt x="2209877" y="1039037"/>
                </a:lnTo>
                <a:cubicBezTo>
                  <a:pt x="2211340" y="1039037"/>
                  <a:pt x="2212802" y="1039037"/>
                  <a:pt x="2214265" y="1039037"/>
                </a:cubicBezTo>
                <a:cubicBezTo>
                  <a:pt x="2215727" y="1039037"/>
                  <a:pt x="2215727" y="1039037"/>
                  <a:pt x="2215727" y="1040500"/>
                </a:cubicBezTo>
                <a:cubicBezTo>
                  <a:pt x="2215727" y="1040500"/>
                  <a:pt x="2215727" y="1041962"/>
                  <a:pt x="2215727" y="1041962"/>
                </a:cubicBezTo>
                <a:cubicBezTo>
                  <a:pt x="2215727" y="1043424"/>
                  <a:pt x="2215727" y="1043424"/>
                  <a:pt x="2215727" y="1043424"/>
                </a:cubicBezTo>
                <a:cubicBezTo>
                  <a:pt x="2215727" y="1043424"/>
                  <a:pt x="2214265" y="1044887"/>
                  <a:pt x="2214265" y="1044887"/>
                </a:cubicBezTo>
                <a:cubicBezTo>
                  <a:pt x="2214265" y="1044887"/>
                  <a:pt x="2212802" y="1044887"/>
                  <a:pt x="2209877" y="1044887"/>
                </a:cubicBezTo>
                <a:lnTo>
                  <a:pt x="2205490" y="1044887"/>
                </a:lnTo>
                <a:close/>
                <a:moveTo>
                  <a:pt x="2201103" y="1034650"/>
                </a:moveTo>
                <a:lnTo>
                  <a:pt x="2201103" y="1060974"/>
                </a:lnTo>
                <a:lnTo>
                  <a:pt x="2206952" y="1060974"/>
                </a:lnTo>
                <a:lnTo>
                  <a:pt x="2206952" y="1050737"/>
                </a:lnTo>
                <a:lnTo>
                  <a:pt x="2208415" y="1050737"/>
                </a:lnTo>
                <a:cubicBezTo>
                  <a:pt x="2209877" y="1050737"/>
                  <a:pt x="2209877" y="1050737"/>
                  <a:pt x="2211340" y="1050737"/>
                </a:cubicBezTo>
                <a:cubicBezTo>
                  <a:pt x="2211340" y="1050737"/>
                  <a:pt x="2212802" y="1050737"/>
                  <a:pt x="2212802" y="1052199"/>
                </a:cubicBezTo>
                <a:cubicBezTo>
                  <a:pt x="2212802" y="1052199"/>
                  <a:pt x="2214265" y="1053661"/>
                  <a:pt x="2215727" y="1056586"/>
                </a:cubicBezTo>
                <a:lnTo>
                  <a:pt x="2220114" y="1062436"/>
                </a:lnTo>
                <a:lnTo>
                  <a:pt x="2225964" y="1062436"/>
                </a:lnTo>
                <a:lnTo>
                  <a:pt x="2223039" y="1058049"/>
                </a:lnTo>
                <a:cubicBezTo>
                  <a:pt x="2220114" y="1052199"/>
                  <a:pt x="2218652" y="1050737"/>
                  <a:pt x="2218652" y="1050737"/>
                </a:cubicBezTo>
                <a:cubicBezTo>
                  <a:pt x="2217190" y="1049274"/>
                  <a:pt x="2217190" y="1049274"/>
                  <a:pt x="2215727" y="1049274"/>
                </a:cubicBezTo>
                <a:cubicBezTo>
                  <a:pt x="2218652" y="1049274"/>
                  <a:pt x="2220114" y="1047812"/>
                  <a:pt x="2221577" y="1046349"/>
                </a:cubicBezTo>
                <a:cubicBezTo>
                  <a:pt x="2223039" y="1044887"/>
                  <a:pt x="2223039" y="1043424"/>
                  <a:pt x="2223039" y="1041962"/>
                </a:cubicBezTo>
                <a:cubicBezTo>
                  <a:pt x="2223039" y="1040500"/>
                  <a:pt x="2223039" y="1039037"/>
                  <a:pt x="2221577" y="1037575"/>
                </a:cubicBezTo>
                <a:cubicBezTo>
                  <a:pt x="2220114" y="1036112"/>
                  <a:pt x="2220114" y="1036112"/>
                  <a:pt x="2218652" y="1034650"/>
                </a:cubicBezTo>
                <a:cubicBezTo>
                  <a:pt x="2217190" y="1034650"/>
                  <a:pt x="2215727" y="1034650"/>
                  <a:pt x="2212802" y="1034650"/>
                </a:cubicBezTo>
                <a:close/>
                <a:moveTo>
                  <a:pt x="2171854" y="1033187"/>
                </a:moveTo>
                <a:lnTo>
                  <a:pt x="2171854" y="1059511"/>
                </a:lnTo>
                <a:lnTo>
                  <a:pt x="2176242" y="1059511"/>
                </a:lnTo>
                <a:lnTo>
                  <a:pt x="2176242" y="1039037"/>
                </a:lnTo>
                <a:lnTo>
                  <a:pt x="2182091" y="1059511"/>
                </a:lnTo>
                <a:lnTo>
                  <a:pt x="2187941" y="1059511"/>
                </a:lnTo>
                <a:lnTo>
                  <a:pt x="2193791" y="1039037"/>
                </a:lnTo>
                <a:lnTo>
                  <a:pt x="2193791" y="1059511"/>
                </a:lnTo>
                <a:lnTo>
                  <a:pt x="2198178" y="1059511"/>
                </a:lnTo>
                <a:lnTo>
                  <a:pt x="2198178" y="1033187"/>
                </a:lnTo>
                <a:lnTo>
                  <a:pt x="2190865" y="1033187"/>
                </a:lnTo>
                <a:lnTo>
                  <a:pt x="2183554" y="1050737"/>
                </a:lnTo>
                <a:lnTo>
                  <a:pt x="2179167" y="1033187"/>
                </a:lnTo>
                <a:close/>
                <a:moveTo>
                  <a:pt x="1727278" y="873783"/>
                </a:moveTo>
                <a:cubicBezTo>
                  <a:pt x="1730202" y="879633"/>
                  <a:pt x="1733127" y="884020"/>
                  <a:pt x="1737514" y="889870"/>
                </a:cubicBezTo>
                <a:cubicBezTo>
                  <a:pt x="1738977" y="892795"/>
                  <a:pt x="1741902" y="894257"/>
                  <a:pt x="1744826" y="897182"/>
                </a:cubicBezTo>
                <a:cubicBezTo>
                  <a:pt x="1747751" y="900107"/>
                  <a:pt x="1752139" y="901569"/>
                  <a:pt x="1757988" y="904494"/>
                </a:cubicBezTo>
                <a:cubicBezTo>
                  <a:pt x="1763838" y="907419"/>
                  <a:pt x="1771150" y="910344"/>
                  <a:pt x="1778462" y="911806"/>
                </a:cubicBezTo>
                <a:cubicBezTo>
                  <a:pt x="1769688" y="923506"/>
                  <a:pt x="1763838" y="935205"/>
                  <a:pt x="1756526" y="943980"/>
                </a:cubicBezTo>
                <a:cubicBezTo>
                  <a:pt x="1749214" y="954217"/>
                  <a:pt x="1741902" y="962991"/>
                  <a:pt x="1734590" y="971766"/>
                </a:cubicBezTo>
                <a:cubicBezTo>
                  <a:pt x="1727278" y="980540"/>
                  <a:pt x="1721428" y="986390"/>
                  <a:pt x="1715578" y="992240"/>
                </a:cubicBezTo>
                <a:cubicBezTo>
                  <a:pt x="1709728" y="998089"/>
                  <a:pt x="1705341" y="1001014"/>
                  <a:pt x="1700954" y="1003939"/>
                </a:cubicBezTo>
                <a:cubicBezTo>
                  <a:pt x="1696567" y="1006864"/>
                  <a:pt x="1693642" y="1008326"/>
                  <a:pt x="1692179" y="1009789"/>
                </a:cubicBezTo>
                <a:cubicBezTo>
                  <a:pt x="1689255" y="1011251"/>
                  <a:pt x="1687792" y="1011251"/>
                  <a:pt x="1686330" y="1011251"/>
                </a:cubicBezTo>
                <a:cubicBezTo>
                  <a:pt x="1680480" y="1011251"/>
                  <a:pt x="1676093" y="1008326"/>
                  <a:pt x="1671704" y="1002477"/>
                </a:cubicBezTo>
                <a:cubicBezTo>
                  <a:pt x="1670243" y="1001014"/>
                  <a:pt x="1668781" y="998089"/>
                  <a:pt x="1668781" y="995164"/>
                </a:cubicBezTo>
                <a:cubicBezTo>
                  <a:pt x="1667318" y="989315"/>
                  <a:pt x="1665856" y="983465"/>
                  <a:pt x="1667318" y="976153"/>
                </a:cubicBezTo>
                <a:cubicBezTo>
                  <a:pt x="1667318" y="971766"/>
                  <a:pt x="1668781" y="965916"/>
                  <a:pt x="1670243" y="960066"/>
                </a:cubicBezTo>
                <a:cubicBezTo>
                  <a:pt x="1671704" y="954217"/>
                  <a:pt x="1673168" y="948367"/>
                  <a:pt x="1676093" y="941055"/>
                </a:cubicBezTo>
                <a:cubicBezTo>
                  <a:pt x="1686330" y="919118"/>
                  <a:pt x="1703879" y="894257"/>
                  <a:pt x="1727278" y="873783"/>
                </a:cubicBezTo>
                <a:close/>
                <a:moveTo>
                  <a:pt x="2126519" y="815286"/>
                </a:moveTo>
                <a:cubicBezTo>
                  <a:pt x="2129444" y="815286"/>
                  <a:pt x="2132368" y="815286"/>
                  <a:pt x="2135294" y="816749"/>
                </a:cubicBezTo>
                <a:cubicBezTo>
                  <a:pt x="2138219" y="819674"/>
                  <a:pt x="2136756" y="824061"/>
                  <a:pt x="2135294" y="828448"/>
                </a:cubicBezTo>
                <a:cubicBezTo>
                  <a:pt x="2133831" y="831373"/>
                  <a:pt x="2133831" y="834298"/>
                  <a:pt x="2130907" y="838685"/>
                </a:cubicBezTo>
                <a:cubicBezTo>
                  <a:pt x="2129444" y="843072"/>
                  <a:pt x="2126519" y="847460"/>
                  <a:pt x="2123594" y="851847"/>
                </a:cubicBezTo>
                <a:lnTo>
                  <a:pt x="2056323" y="957141"/>
                </a:lnTo>
                <a:cubicBezTo>
                  <a:pt x="2049011" y="967378"/>
                  <a:pt x="2041699" y="977615"/>
                  <a:pt x="2035849" y="984927"/>
                </a:cubicBezTo>
                <a:cubicBezTo>
                  <a:pt x="2029999" y="992240"/>
                  <a:pt x="2025612" y="996627"/>
                  <a:pt x="2021225" y="999552"/>
                </a:cubicBezTo>
                <a:cubicBezTo>
                  <a:pt x="2016837" y="1002477"/>
                  <a:pt x="2013913" y="1005401"/>
                  <a:pt x="2010988" y="1006864"/>
                </a:cubicBezTo>
                <a:cubicBezTo>
                  <a:pt x="2005138" y="1009789"/>
                  <a:pt x="1997826" y="1009789"/>
                  <a:pt x="1993438" y="1006864"/>
                </a:cubicBezTo>
                <a:cubicBezTo>
                  <a:pt x="1989051" y="1002477"/>
                  <a:pt x="1990514" y="998089"/>
                  <a:pt x="1990514" y="992240"/>
                </a:cubicBezTo>
                <a:cubicBezTo>
                  <a:pt x="1990514" y="989315"/>
                  <a:pt x="1991976" y="984927"/>
                  <a:pt x="1991976" y="980540"/>
                </a:cubicBezTo>
                <a:cubicBezTo>
                  <a:pt x="1993438" y="976153"/>
                  <a:pt x="1994901" y="970303"/>
                  <a:pt x="1996363" y="965916"/>
                </a:cubicBezTo>
                <a:cubicBezTo>
                  <a:pt x="1997826" y="960066"/>
                  <a:pt x="2000751" y="954217"/>
                  <a:pt x="2005138" y="946905"/>
                </a:cubicBezTo>
                <a:cubicBezTo>
                  <a:pt x="2009525" y="939592"/>
                  <a:pt x="2013913" y="930818"/>
                  <a:pt x="2019762" y="922043"/>
                </a:cubicBezTo>
                <a:cubicBezTo>
                  <a:pt x="2025612" y="913269"/>
                  <a:pt x="2032924" y="901569"/>
                  <a:pt x="2041699" y="891332"/>
                </a:cubicBezTo>
                <a:cubicBezTo>
                  <a:pt x="2050473" y="881095"/>
                  <a:pt x="2059248" y="869396"/>
                  <a:pt x="2068022" y="860622"/>
                </a:cubicBezTo>
                <a:cubicBezTo>
                  <a:pt x="2076797" y="850385"/>
                  <a:pt x="2085570" y="843072"/>
                  <a:pt x="2092884" y="835760"/>
                </a:cubicBezTo>
                <a:cubicBezTo>
                  <a:pt x="2100196" y="829911"/>
                  <a:pt x="2106045" y="825523"/>
                  <a:pt x="2110433" y="822599"/>
                </a:cubicBezTo>
                <a:cubicBezTo>
                  <a:pt x="2114820" y="819674"/>
                  <a:pt x="2117745" y="818211"/>
                  <a:pt x="2120670" y="816749"/>
                </a:cubicBezTo>
                <a:cubicBezTo>
                  <a:pt x="2123594" y="815286"/>
                  <a:pt x="2125057" y="815286"/>
                  <a:pt x="2126519" y="815286"/>
                </a:cubicBezTo>
                <a:close/>
                <a:moveTo>
                  <a:pt x="1784312" y="813824"/>
                </a:moveTo>
                <a:cubicBezTo>
                  <a:pt x="1790162" y="813824"/>
                  <a:pt x="1794549" y="813824"/>
                  <a:pt x="1798936" y="818211"/>
                </a:cubicBezTo>
                <a:cubicBezTo>
                  <a:pt x="1803324" y="822599"/>
                  <a:pt x="1803324" y="826986"/>
                  <a:pt x="1803324" y="834298"/>
                </a:cubicBezTo>
                <a:cubicBezTo>
                  <a:pt x="1801861" y="837223"/>
                  <a:pt x="1801861" y="841610"/>
                  <a:pt x="1801861" y="844535"/>
                </a:cubicBezTo>
                <a:cubicBezTo>
                  <a:pt x="1801861" y="847460"/>
                  <a:pt x="1800399" y="851847"/>
                  <a:pt x="1800399" y="854772"/>
                </a:cubicBezTo>
                <a:cubicBezTo>
                  <a:pt x="1800399" y="857697"/>
                  <a:pt x="1798936" y="862084"/>
                  <a:pt x="1796011" y="867934"/>
                </a:cubicBezTo>
                <a:cubicBezTo>
                  <a:pt x="1793087" y="875246"/>
                  <a:pt x="1787237" y="885483"/>
                  <a:pt x="1782850" y="895720"/>
                </a:cubicBezTo>
                <a:cubicBezTo>
                  <a:pt x="1777000" y="894257"/>
                  <a:pt x="1771150" y="891332"/>
                  <a:pt x="1766763" y="889870"/>
                </a:cubicBezTo>
                <a:cubicBezTo>
                  <a:pt x="1762376" y="888408"/>
                  <a:pt x="1759451" y="885483"/>
                  <a:pt x="1757988" y="884020"/>
                </a:cubicBezTo>
                <a:cubicBezTo>
                  <a:pt x="1756526" y="882558"/>
                  <a:pt x="1753601" y="881095"/>
                  <a:pt x="1753601" y="879633"/>
                </a:cubicBezTo>
                <a:cubicBezTo>
                  <a:pt x="1750676" y="876708"/>
                  <a:pt x="1749214" y="873783"/>
                  <a:pt x="1747751" y="869396"/>
                </a:cubicBezTo>
                <a:cubicBezTo>
                  <a:pt x="1743364" y="851847"/>
                  <a:pt x="1746289" y="832835"/>
                  <a:pt x="1766763" y="819674"/>
                </a:cubicBezTo>
                <a:cubicBezTo>
                  <a:pt x="1772613" y="815286"/>
                  <a:pt x="1778462" y="813824"/>
                  <a:pt x="1784312" y="813824"/>
                </a:cubicBezTo>
                <a:close/>
                <a:moveTo>
                  <a:pt x="797176" y="734853"/>
                </a:moveTo>
                <a:cubicBezTo>
                  <a:pt x="801563" y="742165"/>
                  <a:pt x="807413" y="748015"/>
                  <a:pt x="811800" y="753865"/>
                </a:cubicBezTo>
                <a:cubicBezTo>
                  <a:pt x="816187" y="758252"/>
                  <a:pt x="819112" y="761177"/>
                  <a:pt x="824962" y="764102"/>
                </a:cubicBezTo>
                <a:cubicBezTo>
                  <a:pt x="829349" y="767026"/>
                  <a:pt x="836661" y="769951"/>
                  <a:pt x="843974" y="772876"/>
                </a:cubicBezTo>
                <a:cubicBezTo>
                  <a:pt x="826424" y="796275"/>
                  <a:pt x="808875" y="821136"/>
                  <a:pt x="798638" y="835760"/>
                </a:cubicBezTo>
                <a:cubicBezTo>
                  <a:pt x="788400" y="850385"/>
                  <a:pt x="782552" y="854772"/>
                  <a:pt x="779627" y="857697"/>
                </a:cubicBezTo>
                <a:cubicBezTo>
                  <a:pt x="775240" y="860622"/>
                  <a:pt x="772315" y="863546"/>
                  <a:pt x="770852" y="865009"/>
                </a:cubicBezTo>
                <a:cubicBezTo>
                  <a:pt x="767927" y="866471"/>
                  <a:pt x="766465" y="867934"/>
                  <a:pt x="763539" y="869396"/>
                </a:cubicBezTo>
                <a:cubicBezTo>
                  <a:pt x="753303" y="873783"/>
                  <a:pt x="741604" y="875246"/>
                  <a:pt x="734292" y="863546"/>
                </a:cubicBezTo>
                <a:cubicBezTo>
                  <a:pt x="731367" y="859159"/>
                  <a:pt x="731367" y="854772"/>
                  <a:pt x="731367" y="848922"/>
                </a:cubicBezTo>
                <a:cubicBezTo>
                  <a:pt x="731367" y="845997"/>
                  <a:pt x="732829" y="840148"/>
                  <a:pt x="734292" y="834298"/>
                </a:cubicBezTo>
                <a:cubicBezTo>
                  <a:pt x="735754" y="828448"/>
                  <a:pt x="738678" y="821136"/>
                  <a:pt x="744529" y="810899"/>
                </a:cubicBezTo>
                <a:cubicBezTo>
                  <a:pt x="748916" y="800662"/>
                  <a:pt x="756228" y="788963"/>
                  <a:pt x="765003" y="775801"/>
                </a:cubicBezTo>
                <a:cubicBezTo>
                  <a:pt x="773777" y="762639"/>
                  <a:pt x="785477" y="748015"/>
                  <a:pt x="797176" y="734853"/>
                </a:cubicBezTo>
                <a:close/>
                <a:moveTo>
                  <a:pt x="1227129" y="679281"/>
                </a:moveTo>
                <a:cubicBezTo>
                  <a:pt x="1231516" y="677819"/>
                  <a:pt x="1234441" y="677819"/>
                  <a:pt x="1238828" y="679281"/>
                </a:cubicBezTo>
                <a:cubicBezTo>
                  <a:pt x="1244678" y="683668"/>
                  <a:pt x="1241753" y="690980"/>
                  <a:pt x="1241753" y="695368"/>
                </a:cubicBezTo>
                <a:cubicBezTo>
                  <a:pt x="1241753" y="696830"/>
                  <a:pt x="1240290" y="698293"/>
                  <a:pt x="1237366" y="702680"/>
                </a:cubicBezTo>
                <a:cubicBezTo>
                  <a:pt x="1234441" y="707067"/>
                  <a:pt x="1228591" y="715842"/>
                  <a:pt x="1224204" y="724616"/>
                </a:cubicBezTo>
                <a:lnTo>
                  <a:pt x="1165707" y="824061"/>
                </a:lnTo>
                <a:cubicBezTo>
                  <a:pt x="1161320" y="831373"/>
                  <a:pt x="1155470" y="838685"/>
                  <a:pt x="1151083" y="844535"/>
                </a:cubicBezTo>
                <a:cubicBezTo>
                  <a:pt x="1146695" y="850385"/>
                  <a:pt x="1143770" y="854772"/>
                  <a:pt x="1139383" y="857697"/>
                </a:cubicBezTo>
                <a:cubicBezTo>
                  <a:pt x="1136458" y="860622"/>
                  <a:pt x="1133533" y="863546"/>
                  <a:pt x="1130609" y="865009"/>
                </a:cubicBezTo>
                <a:cubicBezTo>
                  <a:pt x="1126221" y="867934"/>
                  <a:pt x="1123296" y="869396"/>
                  <a:pt x="1120372" y="870858"/>
                </a:cubicBezTo>
                <a:cubicBezTo>
                  <a:pt x="1115984" y="872321"/>
                  <a:pt x="1110135" y="870858"/>
                  <a:pt x="1105747" y="866471"/>
                </a:cubicBezTo>
                <a:cubicBezTo>
                  <a:pt x="1101360" y="860622"/>
                  <a:pt x="1101360" y="857697"/>
                  <a:pt x="1101360" y="851847"/>
                </a:cubicBezTo>
                <a:cubicBezTo>
                  <a:pt x="1101360" y="848922"/>
                  <a:pt x="1102823" y="845997"/>
                  <a:pt x="1102823" y="841610"/>
                </a:cubicBezTo>
                <a:cubicBezTo>
                  <a:pt x="1104285" y="837223"/>
                  <a:pt x="1105747" y="831373"/>
                  <a:pt x="1108672" y="825523"/>
                </a:cubicBezTo>
                <a:cubicBezTo>
                  <a:pt x="1111597" y="818211"/>
                  <a:pt x="1115984" y="810899"/>
                  <a:pt x="1121834" y="799200"/>
                </a:cubicBezTo>
                <a:cubicBezTo>
                  <a:pt x="1127684" y="788963"/>
                  <a:pt x="1136458" y="775801"/>
                  <a:pt x="1145233" y="762639"/>
                </a:cubicBezTo>
                <a:cubicBezTo>
                  <a:pt x="1155470" y="749477"/>
                  <a:pt x="1165707" y="734853"/>
                  <a:pt x="1175944" y="724616"/>
                </a:cubicBezTo>
                <a:cubicBezTo>
                  <a:pt x="1186181" y="712917"/>
                  <a:pt x="1194955" y="704142"/>
                  <a:pt x="1202266" y="696830"/>
                </a:cubicBezTo>
                <a:cubicBezTo>
                  <a:pt x="1209579" y="689518"/>
                  <a:pt x="1215429" y="686593"/>
                  <a:pt x="1218354" y="683668"/>
                </a:cubicBezTo>
                <a:cubicBezTo>
                  <a:pt x="1222741" y="680743"/>
                  <a:pt x="1225666" y="679281"/>
                  <a:pt x="1227129" y="679281"/>
                </a:cubicBezTo>
                <a:close/>
                <a:moveTo>
                  <a:pt x="851834" y="677453"/>
                </a:moveTo>
                <a:cubicBezTo>
                  <a:pt x="855672" y="677088"/>
                  <a:pt x="859329" y="677819"/>
                  <a:pt x="862985" y="680743"/>
                </a:cubicBezTo>
                <a:cubicBezTo>
                  <a:pt x="871760" y="689518"/>
                  <a:pt x="870297" y="698293"/>
                  <a:pt x="870297" y="707067"/>
                </a:cubicBezTo>
                <a:cubicBezTo>
                  <a:pt x="870297" y="709992"/>
                  <a:pt x="868835" y="714379"/>
                  <a:pt x="868835" y="717304"/>
                </a:cubicBezTo>
                <a:cubicBezTo>
                  <a:pt x="867372" y="720229"/>
                  <a:pt x="867372" y="724616"/>
                  <a:pt x="864447" y="730466"/>
                </a:cubicBezTo>
                <a:cubicBezTo>
                  <a:pt x="861523" y="736316"/>
                  <a:pt x="857135" y="745090"/>
                  <a:pt x="852748" y="753865"/>
                </a:cubicBezTo>
                <a:cubicBezTo>
                  <a:pt x="846898" y="752402"/>
                  <a:pt x="841049" y="749477"/>
                  <a:pt x="836661" y="748015"/>
                </a:cubicBezTo>
                <a:cubicBezTo>
                  <a:pt x="832274" y="745090"/>
                  <a:pt x="829349" y="743628"/>
                  <a:pt x="826424" y="742165"/>
                </a:cubicBezTo>
                <a:cubicBezTo>
                  <a:pt x="823500" y="740703"/>
                  <a:pt x="822037" y="739240"/>
                  <a:pt x="820575" y="736316"/>
                </a:cubicBezTo>
                <a:cubicBezTo>
                  <a:pt x="819112" y="734853"/>
                  <a:pt x="817650" y="733391"/>
                  <a:pt x="816187" y="731928"/>
                </a:cubicBezTo>
                <a:cubicBezTo>
                  <a:pt x="808875" y="718766"/>
                  <a:pt x="808875" y="704142"/>
                  <a:pt x="823500" y="690980"/>
                </a:cubicBezTo>
                <a:cubicBezTo>
                  <a:pt x="824962" y="689518"/>
                  <a:pt x="827887" y="686593"/>
                  <a:pt x="830812" y="685131"/>
                </a:cubicBezTo>
                <a:cubicBezTo>
                  <a:pt x="833737" y="683668"/>
                  <a:pt x="836661" y="682206"/>
                  <a:pt x="839586" y="680743"/>
                </a:cubicBezTo>
                <a:cubicBezTo>
                  <a:pt x="843973" y="679281"/>
                  <a:pt x="847995" y="677819"/>
                  <a:pt x="851834" y="677453"/>
                </a:cubicBezTo>
                <a:close/>
                <a:moveTo>
                  <a:pt x="1374833" y="650033"/>
                </a:moveTo>
                <a:lnTo>
                  <a:pt x="1347047" y="701217"/>
                </a:lnTo>
                <a:lnTo>
                  <a:pt x="1401157" y="701217"/>
                </a:lnTo>
                <a:lnTo>
                  <a:pt x="1430405" y="650033"/>
                </a:lnTo>
                <a:close/>
                <a:moveTo>
                  <a:pt x="1061875" y="647108"/>
                </a:moveTo>
                <a:cubicBezTo>
                  <a:pt x="1057487" y="647108"/>
                  <a:pt x="1053100" y="647108"/>
                  <a:pt x="1047250" y="648570"/>
                </a:cubicBezTo>
                <a:cubicBezTo>
                  <a:pt x="1041401" y="650033"/>
                  <a:pt x="1037012" y="651495"/>
                  <a:pt x="1029701" y="654420"/>
                </a:cubicBezTo>
                <a:cubicBezTo>
                  <a:pt x="1023852" y="657345"/>
                  <a:pt x="1016540" y="660270"/>
                  <a:pt x="1003378" y="670507"/>
                </a:cubicBezTo>
                <a:cubicBezTo>
                  <a:pt x="990216" y="680743"/>
                  <a:pt x="971204" y="698293"/>
                  <a:pt x="956580" y="711454"/>
                </a:cubicBezTo>
                <a:cubicBezTo>
                  <a:pt x="941956" y="724616"/>
                  <a:pt x="930257" y="731928"/>
                  <a:pt x="921482" y="737778"/>
                </a:cubicBezTo>
                <a:cubicBezTo>
                  <a:pt x="912707" y="743628"/>
                  <a:pt x="903933" y="748015"/>
                  <a:pt x="896621" y="750940"/>
                </a:cubicBezTo>
                <a:cubicBezTo>
                  <a:pt x="889309" y="753865"/>
                  <a:pt x="881997" y="756790"/>
                  <a:pt x="874684" y="758252"/>
                </a:cubicBezTo>
                <a:cubicBezTo>
                  <a:pt x="879072" y="748015"/>
                  <a:pt x="883459" y="737778"/>
                  <a:pt x="886384" y="729003"/>
                </a:cubicBezTo>
                <a:cubicBezTo>
                  <a:pt x="889309" y="720229"/>
                  <a:pt x="892233" y="712917"/>
                  <a:pt x="893696" y="707067"/>
                </a:cubicBezTo>
                <a:cubicBezTo>
                  <a:pt x="895158" y="701217"/>
                  <a:pt x="895158" y="698293"/>
                  <a:pt x="896621" y="693905"/>
                </a:cubicBezTo>
                <a:cubicBezTo>
                  <a:pt x="896621" y="686593"/>
                  <a:pt x="896621" y="677819"/>
                  <a:pt x="893696" y="671969"/>
                </a:cubicBezTo>
                <a:cubicBezTo>
                  <a:pt x="892233" y="669044"/>
                  <a:pt x="890771" y="666119"/>
                  <a:pt x="889309" y="664657"/>
                </a:cubicBezTo>
                <a:cubicBezTo>
                  <a:pt x="884921" y="658807"/>
                  <a:pt x="881997" y="655882"/>
                  <a:pt x="876147" y="654420"/>
                </a:cubicBezTo>
                <a:cubicBezTo>
                  <a:pt x="864447" y="648570"/>
                  <a:pt x="854210" y="650033"/>
                  <a:pt x="841049" y="652957"/>
                </a:cubicBezTo>
                <a:cubicBezTo>
                  <a:pt x="833737" y="654420"/>
                  <a:pt x="826424" y="657345"/>
                  <a:pt x="819112" y="661732"/>
                </a:cubicBezTo>
                <a:cubicBezTo>
                  <a:pt x="810338" y="666119"/>
                  <a:pt x="801563" y="671969"/>
                  <a:pt x="789864" y="679281"/>
                </a:cubicBezTo>
                <a:cubicBezTo>
                  <a:pt x="779627" y="686593"/>
                  <a:pt x="767927" y="696830"/>
                  <a:pt x="756228" y="707067"/>
                </a:cubicBezTo>
                <a:cubicBezTo>
                  <a:pt x="744529" y="718766"/>
                  <a:pt x="732829" y="730466"/>
                  <a:pt x="722592" y="743628"/>
                </a:cubicBezTo>
                <a:cubicBezTo>
                  <a:pt x="702118" y="769951"/>
                  <a:pt x="686032" y="796275"/>
                  <a:pt x="677257" y="818211"/>
                </a:cubicBezTo>
                <a:cubicBezTo>
                  <a:pt x="672870" y="829911"/>
                  <a:pt x="669945" y="838685"/>
                  <a:pt x="667020" y="848922"/>
                </a:cubicBezTo>
                <a:cubicBezTo>
                  <a:pt x="661171" y="856234"/>
                  <a:pt x="659708" y="865009"/>
                  <a:pt x="659708" y="870858"/>
                </a:cubicBezTo>
                <a:cubicBezTo>
                  <a:pt x="659708" y="878171"/>
                  <a:pt x="659708" y="882558"/>
                  <a:pt x="659708" y="886945"/>
                </a:cubicBezTo>
                <a:cubicBezTo>
                  <a:pt x="659708" y="891332"/>
                  <a:pt x="661171" y="895720"/>
                  <a:pt x="662633" y="898645"/>
                </a:cubicBezTo>
                <a:cubicBezTo>
                  <a:pt x="664095" y="903032"/>
                  <a:pt x="665558" y="905957"/>
                  <a:pt x="667020" y="908882"/>
                </a:cubicBezTo>
                <a:cubicBezTo>
                  <a:pt x="668482" y="911806"/>
                  <a:pt x="671407" y="914731"/>
                  <a:pt x="674332" y="916194"/>
                </a:cubicBezTo>
                <a:cubicBezTo>
                  <a:pt x="677257" y="917656"/>
                  <a:pt x="680182" y="920581"/>
                  <a:pt x="684569" y="920581"/>
                </a:cubicBezTo>
                <a:cubicBezTo>
                  <a:pt x="688956" y="922043"/>
                  <a:pt x="693344" y="922043"/>
                  <a:pt x="697731" y="922043"/>
                </a:cubicBezTo>
                <a:cubicBezTo>
                  <a:pt x="702118" y="922043"/>
                  <a:pt x="707968" y="920581"/>
                  <a:pt x="713817" y="920581"/>
                </a:cubicBezTo>
                <a:cubicBezTo>
                  <a:pt x="719667" y="919118"/>
                  <a:pt x="725517" y="917656"/>
                  <a:pt x="731367" y="914731"/>
                </a:cubicBezTo>
                <a:cubicBezTo>
                  <a:pt x="737217" y="911806"/>
                  <a:pt x="744529" y="907419"/>
                  <a:pt x="751841" y="903032"/>
                </a:cubicBezTo>
                <a:cubicBezTo>
                  <a:pt x="759153" y="897182"/>
                  <a:pt x="767927" y="889870"/>
                  <a:pt x="778164" y="881095"/>
                </a:cubicBezTo>
                <a:cubicBezTo>
                  <a:pt x="788400" y="870858"/>
                  <a:pt x="798638" y="859159"/>
                  <a:pt x="813263" y="840148"/>
                </a:cubicBezTo>
                <a:cubicBezTo>
                  <a:pt x="827887" y="822599"/>
                  <a:pt x="843974" y="797737"/>
                  <a:pt x="860060" y="772876"/>
                </a:cubicBezTo>
                <a:lnTo>
                  <a:pt x="899546" y="764102"/>
                </a:lnTo>
                <a:cubicBezTo>
                  <a:pt x="887846" y="786038"/>
                  <a:pt x="877609" y="806512"/>
                  <a:pt x="870297" y="821136"/>
                </a:cubicBezTo>
                <a:cubicBezTo>
                  <a:pt x="864447" y="835760"/>
                  <a:pt x="861523" y="841610"/>
                  <a:pt x="861523" y="847460"/>
                </a:cubicBezTo>
                <a:cubicBezTo>
                  <a:pt x="857135" y="867934"/>
                  <a:pt x="855673" y="888408"/>
                  <a:pt x="864447" y="904494"/>
                </a:cubicBezTo>
                <a:cubicBezTo>
                  <a:pt x="867372" y="908882"/>
                  <a:pt x="870297" y="913269"/>
                  <a:pt x="874684" y="917656"/>
                </a:cubicBezTo>
                <a:cubicBezTo>
                  <a:pt x="879072" y="920581"/>
                  <a:pt x="884921" y="923506"/>
                  <a:pt x="890771" y="926431"/>
                </a:cubicBezTo>
                <a:cubicBezTo>
                  <a:pt x="896621" y="927893"/>
                  <a:pt x="903933" y="929355"/>
                  <a:pt x="911245" y="929355"/>
                </a:cubicBezTo>
                <a:cubicBezTo>
                  <a:pt x="928794" y="929355"/>
                  <a:pt x="944881" y="924968"/>
                  <a:pt x="966817" y="911806"/>
                </a:cubicBezTo>
                <a:cubicBezTo>
                  <a:pt x="974129" y="907419"/>
                  <a:pt x="982904" y="901569"/>
                  <a:pt x="993141" y="891332"/>
                </a:cubicBezTo>
                <a:cubicBezTo>
                  <a:pt x="1004840" y="881095"/>
                  <a:pt x="1018002" y="867934"/>
                  <a:pt x="1032626" y="851847"/>
                </a:cubicBezTo>
                <a:cubicBezTo>
                  <a:pt x="1031164" y="865009"/>
                  <a:pt x="1031164" y="878171"/>
                  <a:pt x="1031164" y="885483"/>
                </a:cubicBezTo>
                <a:cubicBezTo>
                  <a:pt x="1031164" y="894257"/>
                  <a:pt x="1031164" y="897182"/>
                  <a:pt x="1032626" y="900107"/>
                </a:cubicBezTo>
                <a:cubicBezTo>
                  <a:pt x="1032626" y="903032"/>
                  <a:pt x="1034089" y="905957"/>
                  <a:pt x="1034089" y="907419"/>
                </a:cubicBezTo>
                <a:cubicBezTo>
                  <a:pt x="1035551" y="908882"/>
                  <a:pt x="1035551" y="910344"/>
                  <a:pt x="1037012" y="911806"/>
                </a:cubicBezTo>
                <a:cubicBezTo>
                  <a:pt x="1039938" y="917656"/>
                  <a:pt x="1044326" y="919118"/>
                  <a:pt x="1048713" y="920581"/>
                </a:cubicBezTo>
                <a:cubicBezTo>
                  <a:pt x="1063337" y="924968"/>
                  <a:pt x="1075036" y="922043"/>
                  <a:pt x="1089661" y="916194"/>
                </a:cubicBezTo>
                <a:cubicBezTo>
                  <a:pt x="1095510" y="913269"/>
                  <a:pt x="1101360" y="910344"/>
                  <a:pt x="1108672" y="904494"/>
                </a:cubicBezTo>
                <a:cubicBezTo>
                  <a:pt x="1115984" y="898645"/>
                  <a:pt x="1126221" y="891332"/>
                  <a:pt x="1134996" y="882558"/>
                </a:cubicBezTo>
                <a:cubicBezTo>
                  <a:pt x="1134996" y="888408"/>
                  <a:pt x="1133533" y="892795"/>
                  <a:pt x="1134996" y="897182"/>
                </a:cubicBezTo>
                <a:cubicBezTo>
                  <a:pt x="1134996" y="901569"/>
                  <a:pt x="1134996" y="903032"/>
                  <a:pt x="1136458" y="905957"/>
                </a:cubicBezTo>
                <a:cubicBezTo>
                  <a:pt x="1136458" y="908882"/>
                  <a:pt x="1137921" y="911806"/>
                  <a:pt x="1139383" y="914731"/>
                </a:cubicBezTo>
                <a:cubicBezTo>
                  <a:pt x="1143770" y="920581"/>
                  <a:pt x="1149620" y="922043"/>
                  <a:pt x="1156932" y="923506"/>
                </a:cubicBezTo>
                <a:cubicBezTo>
                  <a:pt x="1159857" y="923506"/>
                  <a:pt x="1162782" y="923506"/>
                  <a:pt x="1167169" y="923506"/>
                </a:cubicBezTo>
                <a:cubicBezTo>
                  <a:pt x="1180331" y="923506"/>
                  <a:pt x="1194955" y="919118"/>
                  <a:pt x="1211042" y="907419"/>
                </a:cubicBezTo>
                <a:cubicBezTo>
                  <a:pt x="1219816" y="901569"/>
                  <a:pt x="1228591" y="894257"/>
                  <a:pt x="1238828" y="884020"/>
                </a:cubicBezTo>
                <a:cubicBezTo>
                  <a:pt x="1249065" y="873783"/>
                  <a:pt x="1260764" y="860622"/>
                  <a:pt x="1272464" y="844535"/>
                </a:cubicBezTo>
                <a:cubicBezTo>
                  <a:pt x="1284163" y="828448"/>
                  <a:pt x="1295863" y="809437"/>
                  <a:pt x="1307562" y="788963"/>
                </a:cubicBezTo>
                <a:lnTo>
                  <a:pt x="1297325" y="786038"/>
                </a:lnTo>
                <a:cubicBezTo>
                  <a:pt x="1281238" y="807974"/>
                  <a:pt x="1266614" y="825523"/>
                  <a:pt x="1256377" y="837223"/>
                </a:cubicBezTo>
                <a:cubicBezTo>
                  <a:pt x="1246140" y="848922"/>
                  <a:pt x="1241753" y="853309"/>
                  <a:pt x="1238828" y="856234"/>
                </a:cubicBezTo>
                <a:cubicBezTo>
                  <a:pt x="1235903" y="859159"/>
                  <a:pt x="1232977" y="860622"/>
                  <a:pt x="1231516" y="862084"/>
                </a:cubicBezTo>
                <a:cubicBezTo>
                  <a:pt x="1227129" y="865009"/>
                  <a:pt x="1222741" y="866471"/>
                  <a:pt x="1219816" y="865009"/>
                </a:cubicBezTo>
                <a:cubicBezTo>
                  <a:pt x="1216892" y="865009"/>
                  <a:pt x="1213967" y="862084"/>
                  <a:pt x="1213967" y="859159"/>
                </a:cubicBezTo>
                <a:cubicBezTo>
                  <a:pt x="1213967" y="857697"/>
                  <a:pt x="1213967" y="857697"/>
                  <a:pt x="1215429" y="851847"/>
                </a:cubicBezTo>
                <a:cubicBezTo>
                  <a:pt x="1216892" y="848922"/>
                  <a:pt x="1218354" y="844535"/>
                  <a:pt x="1224204" y="834298"/>
                </a:cubicBezTo>
                <a:cubicBezTo>
                  <a:pt x="1230052" y="822599"/>
                  <a:pt x="1238828" y="806512"/>
                  <a:pt x="1247602" y="788963"/>
                </a:cubicBezTo>
                <a:lnTo>
                  <a:pt x="1329498" y="650033"/>
                </a:lnTo>
                <a:lnTo>
                  <a:pt x="1278313" y="650033"/>
                </a:lnTo>
                <a:lnTo>
                  <a:pt x="1268076" y="661732"/>
                </a:lnTo>
                <a:cubicBezTo>
                  <a:pt x="1260764" y="657345"/>
                  <a:pt x="1253452" y="654420"/>
                  <a:pt x="1249065" y="651495"/>
                </a:cubicBezTo>
                <a:cubicBezTo>
                  <a:pt x="1244678" y="648570"/>
                  <a:pt x="1240290" y="648570"/>
                  <a:pt x="1237366" y="648570"/>
                </a:cubicBezTo>
                <a:cubicBezTo>
                  <a:pt x="1234441" y="648570"/>
                  <a:pt x="1230052" y="647108"/>
                  <a:pt x="1227129" y="647108"/>
                </a:cubicBezTo>
                <a:cubicBezTo>
                  <a:pt x="1215429" y="647108"/>
                  <a:pt x="1202266" y="650033"/>
                  <a:pt x="1187643" y="658807"/>
                </a:cubicBezTo>
                <a:cubicBezTo>
                  <a:pt x="1181793" y="661732"/>
                  <a:pt x="1175944" y="666119"/>
                  <a:pt x="1167169" y="673431"/>
                </a:cubicBezTo>
                <a:cubicBezTo>
                  <a:pt x="1159857" y="679281"/>
                  <a:pt x="1149620" y="688056"/>
                  <a:pt x="1130609" y="708530"/>
                </a:cubicBezTo>
                <a:cubicBezTo>
                  <a:pt x="1113060" y="729003"/>
                  <a:pt x="1085273" y="761177"/>
                  <a:pt x="1063337" y="787500"/>
                </a:cubicBezTo>
                <a:cubicBezTo>
                  <a:pt x="1041401" y="813824"/>
                  <a:pt x="1023852" y="834298"/>
                  <a:pt x="1010690" y="847460"/>
                </a:cubicBezTo>
                <a:cubicBezTo>
                  <a:pt x="997528" y="860622"/>
                  <a:pt x="990216" y="866471"/>
                  <a:pt x="984365" y="870858"/>
                </a:cubicBezTo>
                <a:cubicBezTo>
                  <a:pt x="978517" y="875246"/>
                  <a:pt x="974129" y="878171"/>
                  <a:pt x="969742" y="879633"/>
                </a:cubicBezTo>
                <a:cubicBezTo>
                  <a:pt x="968280" y="884020"/>
                  <a:pt x="963892" y="885483"/>
                  <a:pt x="960967" y="885483"/>
                </a:cubicBezTo>
                <a:cubicBezTo>
                  <a:pt x="952193" y="886945"/>
                  <a:pt x="943418" y="886945"/>
                  <a:pt x="936106" y="882558"/>
                </a:cubicBezTo>
                <a:cubicBezTo>
                  <a:pt x="931719" y="879633"/>
                  <a:pt x="931719" y="876708"/>
                  <a:pt x="930257" y="872321"/>
                </a:cubicBezTo>
                <a:cubicBezTo>
                  <a:pt x="928794" y="862084"/>
                  <a:pt x="930257" y="854772"/>
                  <a:pt x="931719" y="844535"/>
                </a:cubicBezTo>
                <a:cubicBezTo>
                  <a:pt x="933181" y="838685"/>
                  <a:pt x="934643" y="832835"/>
                  <a:pt x="937569" y="825523"/>
                </a:cubicBezTo>
                <a:cubicBezTo>
                  <a:pt x="940493" y="818211"/>
                  <a:pt x="943418" y="809437"/>
                  <a:pt x="949268" y="800662"/>
                </a:cubicBezTo>
                <a:cubicBezTo>
                  <a:pt x="953655" y="790425"/>
                  <a:pt x="960967" y="780188"/>
                  <a:pt x="968280" y="768489"/>
                </a:cubicBezTo>
                <a:cubicBezTo>
                  <a:pt x="984365" y="745090"/>
                  <a:pt x="1006303" y="718766"/>
                  <a:pt x="1023852" y="702680"/>
                </a:cubicBezTo>
                <a:cubicBezTo>
                  <a:pt x="1032626" y="693905"/>
                  <a:pt x="1039938" y="688056"/>
                  <a:pt x="1045788" y="685131"/>
                </a:cubicBezTo>
                <a:cubicBezTo>
                  <a:pt x="1051638" y="680743"/>
                  <a:pt x="1054562" y="679281"/>
                  <a:pt x="1057487" y="677819"/>
                </a:cubicBezTo>
                <a:cubicBezTo>
                  <a:pt x="1060412" y="676356"/>
                  <a:pt x="1061875" y="676356"/>
                  <a:pt x="1064799" y="676356"/>
                </a:cubicBezTo>
                <a:cubicBezTo>
                  <a:pt x="1067724" y="676356"/>
                  <a:pt x="1070649" y="676356"/>
                  <a:pt x="1072112" y="679281"/>
                </a:cubicBezTo>
                <a:cubicBezTo>
                  <a:pt x="1075036" y="682206"/>
                  <a:pt x="1075036" y="683668"/>
                  <a:pt x="1076499" y="688056"/>
                </a:cubicBezTo>
                <a:cubicBezTo>
                  <a:pt x="1076499" y="689518"/>
                  <a:pt x="1076499" y="692443"/>
                  <a:pt x="1076499" y="695368"/>
                </a:cubicBezTo>
                <a:cubicBezTo>
                  <a:pt x="1072112" y="696830"/>
                  <a:pt x="1066262" y="696830"/>
                  <a:pt x="1063337" y="698293"/>
                </a:cubicBezTo>
                <a:cubicBezTo>
                  <a:pt x="1058950" y="699755"/>
                  <a:pt x="1056025" y="701217"/>
                  <a:pt x="1054562" y="702680"/>
                </a:cubicBezTo>
                <a:cubicBezTo>
                  <a:pt x="1051638" y="704142"/>
                  <a:pt x="1050175" y="705605"/>
                  <a:pt x="1048713" y="707067"/>
                </a:cubicBezTo>
                <a:cubicBezTo>
                  <a:pt x="1037012" y="715842"/>
                  <a:pt x="1035551" y="727541"/>
                  <a:pt x="1035551" y="734853"/>
                </a:cubicBezTo>
                <a:cubicBezTo>
                  <a:pt x="1035551" y="737778"/>
                  <a:pt x="1038476" y="742165"/>
                  <a:pt x="1041401" y="745090"/>
                </a:cubicBezTo>
                <a:cubicBezTo>
                  <a:pt x="1050175" y="752402"/>
                  <a:pt x="1061875" y="748015"/>
                  <a:pt x="1075036" y="733391"/>
                </a:cubicBezTo>
                <a:cubicBezTo>
                  <a:pt x="1076499" y="730466"/>
                  <a:pt x="1079424" y="727541"/>
                  <a:pt x="1080886" y="724616"/>
                </a:cubicBezTo>
                <a:cubicBezTo>
                  <a:pt x="1088198" y="714379"/>
                  <a:pt x="1091123" y="704142"/>
                  <a:pt x="1094048" y="695368"/>
                </a:cubicBezTo>
                <a:cubicBezTo>
                  <a:pt x="1096973" y="682206"/>
                  <a:pt x="1096973" y="666119"/>
                  <a:pt x="1080886" y="652957"/>
                </a:cubicBezTo>
                <a:cubicBezTo>
                  <a:pt x="1075036" y="648570"/>
                  <a:pt x="1069187" y="647108"/>
                  <a:pt x="1061875" y="647108"/>
                </a:cubicBezTo>
                <a:close/>
                <a:moveTo>
                  <a:pt x="1771150" y="552050"/>
                </a:moveTo>
                <a:cubicBezTo>
                  <a:pt x="1769688" y="562287"/>
                  <a:pt x="1768225" y="572524"/>
                  <a:pt x="1765301" y="584224"/>
                </a:cubicBezTo>
                <a:cubicBezTo>
                  <a:pt x="1762376" y="595923"/>
                  <a:pt x="1757988" y="610547"/>
                  <a:pt x="1752139" y="622247"/>
                </a:cubicBezTo>
                <a:cubicBezTo>
                  <a:pt x="1746289" y="635408"/>
                  <a:pt x="1740439" y="647108"/>
                  <a:pt x="1736052" y="657345"/>
                </a:cubicBezTo>
                <a:cubicBezTo>
                  <a:pt x="1730202" y="667582"/>
                  <a:pt x="1725815" y="674894"/>
                  <a:pt x="1719965" y="682206"/>
                </a:cubicBezTo>
                <a:cubicBezTo>
                  <a:pt x="1706804" y="698293"/>
                  <a:pt x="1696567" y="707067"/>
                  <a:pt x="1684867" y="712917"/>
                </a:cubicBezTo>
                <a:cubicBezTo>
                  <a:pt x="1673168" y="717304"/>
                  <a:pt x="1662931" y="718766"/>
                  <a:pt x="1652694" y="712917"/>
                </a:cubicBezTo>
                <a:cubicBezTo>
                  <a:pt x="1649768" y="711454"/>
                  <a:pt x="1646843" y="707067"/>
                  <a:pt x="1646843" y="704142"/>
                </a:cubicBezTo>
                <a:cubicBezTo>
                  <a:pt x="1645382" y="692443"/>
                  <a:pt x="1648307" y="682206"/>
                  <a:pt x="1652694" y="670507"/>
                </a:cubicBezTo>
                <a:cubicBezTo>
                  <a:pt x="1654156" y="664657"/>
                  <a:pt x="1657081" y="660270"/>
                  <a:pt x="1661468" y="652957"/>
                </a:cubicBezTo>
                <a:cubicBezTo>
                  <a:pt x="1664393" y="647108"/>
                  <a:pt x="1670243" y="639796"/>
                  <a:pt x="1676093" y="632484"/>
                </a:cubicBezTo>
                <a:cubicBezTo>
                  <a:pt x="1681942" y="625171"/>
                  <a:pt x="1689255" y="616397"/>
                  <a:pt x="1699491" y="607622"/>
                </a:cubicBezTo>
                <a:cubicBezTo>
                  <a:pt x="1709728" y="598848"/>
                  <a:pt x="1721428" y="588611"/>
                  <a:pt x="1733127" y="578374"/>
                </a:cubicBezTo>
                <a:cubicBezTo>
                  <a:pt x="1744826" y="568137"/>
                  <a:pt x="1757988" y="559362"/>
                  <a:pt x="1771150" y="552050"/>
                </a:cubicBezTo>
                <a:close/>
                <a:moveTo>
                  <a:pt x="2182091" y="509640"/>
                </a:moveTo>
                <a:cubicBezTo>
                  <a:pt x="2171854" y="506715"/>
                  <a:pt x="2163079" y="508178"/>
                  <a:pt x="2151380" y="511102"/>
                </a:cubicBezTo>
                <a:cubicBezTo>
                  <a:pt x="2142606" y="514027"/>
                  <a:pt x="2133831" y="516952"/>
                  <a:pt x="2122132" y="522802"/>
                </a:cubicBezTo>
                <a:cubicBezTo>
                  <a:pt x="2110433" y="528651"/>
                  <a:pt x="2098733" y="537426"/>
                  <a:pt x="2082645" y="549125"/>
                </a:cubicBezTo>
                <a:cubicBezTo>
                  <a:pt x="2066560" y="560825"/>
                  <a:pt x="2049011" y="578374"/>
                  <a:pt x="2028537" y="600310"/>
                </a:cubicBezTo>
                <a:cubicBezTo>
                  <a:pt x="2008063" y="622247"/>
                  <a:pt x="1984664" y="648570"/>
                  <a:pt x="1961265" y="680743"/>
                </a:cubicBezTo>
                <a:cubicBezTo>
                  <a:pt x="1937867" y="711454"/>
                  <a:pt x="1913005" y="748015"/>
                  <a:pt x="1889607" y="784576"/>
                </a:cubicBezTo>
                <a:cubicBezTo>
                  <a:pt x="1867669" y="821136"/>
                  <a:pt x="1847196" y="859159"/>
                  <a:pt x="1828185" y="897182"/>
                </a:cubicBezTo>
                <a:lnTo>
                  <a:pt x="1801861" y="897182"/>
                </a:lnTo>
                <a:cubicBezTo>
                  <a:pt x="1806248" y="886945"/>
                  <a:pt x="1812098" y="875246"/>
                  <a:pt x="1815023" y="867934"/>
                </a:cubicBezTo>
                <a:cubicBezTo>
                  <a:pt x="1817948" y="860622"/>
                  <a:pt x="1819410" y="854772"/>
                  <a:pt x="1820873" y="850385"/>
                </a:cubicBezTo>
                <a:cubicBezTo>
                  <a:pt x="1823798" y="837223"/>
                  <a:pt x="1823798" y="822599"/>
                  <a:pt x="1819410" y="810899"/>
                </a:cubicBezTo>
                <a:cubicBezTo>
                  <a:pt x="1817948" y="807974"/>
                  <a:pt x="1816485" y="803587"/>
                  <a:pt x="1813561" y="802125"/>
                </a:cubicBezTo>
                <a:cubicBezTo>
                  <a:pt x="1804786" y="791888"/>
                  <a:pt x="1797474" y="790425"/>
                  <a:pt x="1787237" y="790425"/>
                </a:cubicBezTo>
                <a:cubicBezTo>
                  <a:pt x="1782850" y="790425"/>
                  <a:pt x="1778462" y="790425"/>
                  <a:pt x="1772613" y="793350"/>
                </a:cubicBezTo>
                <a:cubicBezTo>
                  <a:pt x="1766763" y="794812"/>
                  <a:pt x="1760913" y="796275"/>
                  <a:pt x="1752139" y="800662"/>
                </a:cubicBezTo>
                <a:cubicBezTo>
                  <a:pt x="1744826" y="803587"/>
                  <a:pt x="1736052" y="809437"/>
                  <a:pt x="1727278" y="815286"/>
                </a:cubicBezTo>
                <a:cubicBezTo>
                  <a:pt x="1717040" y="822599"/>
                  <a:pt x="1706804" y="829911"/>
                  <a:pt x="1696567" y="841610"/>
                </a:cubicBezTo>
                <a:cubicBezTo>
                  <a:pt x="1684867" y="851847"/>
                  <a:pt x="1673168" y="865009"/>
                  <a:pt x="1662931" y="878171"/>
                </a:cubicBezTo>
                <a:cubicBezTo>
                  <a:pt x="1639532" y="905957"/>
                  <a:pt x="1621983" y="936668"/>
                  <a:pt x="1611746" y="960066"/>
                </a:cubicBezTo>
                <a:cubicBezTo>
                  <a:pt x="1605896" y="971766"/>
                  <a:pt x="1602972" y="982003"/>
                  <a:pt x="1600047" y="992240"/>
                </a:cubicBezTo>
                <a:cubicBezTo>
                  <a:pt x="1597122" y="1001014"/>
                  <a:pt x="1595659" y="1009789"/>
                  <a:pt x="1595659" y="1017101"/>
                </a:cubicBezTo>
                <a:cubicBezTo>
                  <a:pt x="1595659" y="1024413"/>
                  <a:pt x="1595659" y="1030263"/>
                  <a:pt x="1595659" y="1034650"/>
                </a:cubicBezTo>
                <a:cubicBezTo>
                  <a:pt x="1597122" y="1040500"/>
                  <a:pt x="1598584" y="1044887"/>
                  <a:pt x="1600047" y="1049274"/>
                </a:cubicBezTo>
                <a:cubicBezTo>
                  <a:pt x="1601509" y="1053661"/>
                  <a:pt x="1604434" y="1056586"/>
                  <a:pt x="1608821" y="1059511"/>
                </a:cubicBezTo>
                <a:cubicBezTo>
                  <a:pt x="1611746" y="1062436"/>
                  <a:pt x="1616132" y="1065361"/>
                  <a:pt x="1620521" y="1066823"/>
                </a:cubicBezTo>
                <a:cubicBezTo>
                  <a:pt x="1624908" y="1068286"/>
                  <a:pt x="1629295" y="1069748"/>
                  <a:pt x="1635145" y="1069748"/>
                </a:cubicBezTo>
                <a:cubicBezTo>
                  <a:pt x="1645382" y="1069748"/>
                  <a:pt x="1655619" y="1066823"/>
                  <a:pt x="1667318" y="1060974"/>
                </a:cubicBezTo>
                <a:cubicBezTo>
                  <a:pt x="1673168" y="1058049"/>
                  <a:pt x="1680480" y="1053661"/>
                  <a:pt x="1689255" y="1047812"/>
                </a:cubicBezTo>
                <a:cubicBezTo>
                  <a:pt x="1698029" y="1041962"/>
                  <a:pt x="1706804" y="1033187"/>
                  <a:pt x="1717040" y="1022951"/>
                </a:cubicBezTo>
                <a:cubicBezTo>
                  <a:pt x="1727278" y="1012714"/>
                  <a:pt x="1738977" y="998089"/>
                  <a:pt x="1752139" y="980540"/>
                </a:cubicBezTo>
                <a:cubicBezTo>
                  <a:pt x="1765301" y="962991"/>
                  <a:pt x="1781387" y="941055"/>
                  <a:pt x="1794549" y="917656"/>
                </a:cubicBezTo>
                <a:lnTo>
                  <a:pt x="1820873" y="917656"/>
                </a:lnTo>
                <a:cubicBezTo>
                  <a:pt x="1812098" y="939592"/>
                  <a:pt x="1804786" y="962991"/>
                  <a:pt x="1798936" y="977615"/>
                </a:cubicBezTo>
                <a:cubicBezTo>
                  <a:pt x="1794549" y="992240"/>
                  <a:pt x="1793087" y="998089"/>
                  <a:pt x="1791624" y="1003939"/>
                </a:cubicBezTo>
                <a:cubicBezTo>
                  <a:pt x="1790162" y="1015638"/>
                  <a:pt x="1788699" y="1025875"/>
                  <a:pt x="1788699" y="1034650"/>
                </a:cubicBezTo>
                <a:cubicBezTo>
                  <a:pt x="1788699" y="1039037"/>
                  <a:pt x="1790162" y="1043424"/>
                  <a:pt x="1791624" y="1046349"/>
                </a:cubicBezTo>
                <a:cubicBezTo>
                  <a:pt x="1793087" y="1049274"/>
                  <a:pt x="1794549" y="1053661"/>
                  <a:pt x="1796011" y="1056586"/>
                </a:cubicBezTo>
                <a:cubicBezTo>
                  <a:pt x="1797474" y="1059511"/>
                  <a:pt x="1800399" y="1062436"/>
                  <a:pt x="1803324" y="1063898"/>
                </a:cubicBezTo>
                <a:cubicBezTo>
                  <a:pt x="1806248" y="1065361"/>
                  <a:pt x="1809173" y="1068286"/>
                  <a:pt x="1813561" y="1068286"/>
                </a:cubicBezTo>
                <a:cubicBezTo>
                  <a:pt x="1816485" y="1069748"/>
                  <a:pt x="1820873" y="1069748"/>
                  <a:pt x="1825260" y="1069748"/>
                </a:cubicBezTo>
                <a:cubicBezTo>
                  <a:pt x="1839884" y="1069748"/>
                  <a:pt x="1853046" y="1065361"/>
                  <a:pt x="1870594" y="1053661"/>
                </a:cubicBezTo>
                <a:cubicBezTo>
                  <a:pt x="1876445" y="1049274"/>
                  <a:pt x="1883757" y="1043424"/>
                  <a:pt x="1892530" y="1034650"/>
                </a:cubicBezTo>
                <a:cubicBezTo>
                  <a:pt x="1901306" y="1025875"/>
                  <a:pt x="1911543" y="1015638"/>
                  <a:pt x="1921780" y="1003939"/>
                </a:cubicBezTo>
                <a:cubicBezTo>
                  <a:pt x="1921780" y="1011251"/>
                  <a:pt x="1920316" y="1018563"/>
                  <a:pt x="1920316" y="1024413"/>
                </a:cubicBezTo>
                <a:cubicBezTo>
                  <a:pt x="1920316" y="1030263"/>
                  <a:pt x="1920316" y="1034650"/>
                  <a:pt x="1921780" y="1039037"/>
                </a:cubicBezTo>
                <a:cubicBezTo>
                  <a:pt x="1921780" y="1043424"/>
                  <a:pt x="1923242" y="1046349"/>
                  <a:pt x="1924705" y="1047812"/>
                </a:cubicBezTo>
                <a:cubicBezTo>
                  <a:pt x="1926167" y="1050737"/>
                  <a:pt x="1926167" y="1052199"/>
                  <a:pt x="1927630" y="1055124"/>
                </a:cubicBezTo>
                <a:cubicBezTo>
                  <a:pt x="1930554" y="1059511"/>
                  <a:pt x="1932017" y="1060974"/>
                  <a:pt x="1934942" y="1063898"/>
                </a:cubicBezTo>
                <a:cubicBezTo>
                  <a:pt x="1940791" y="1066823"/>
                  <a:pt x="1945179" y="1068286"/>
                  <a:pt x="1951028" y="1068286"/>
                </a:cubicBezTo>
                <a:cubicBezTo>
                  <a:pt x="1953953" y="1068286"/>
                  <a:pt x="1956878" y="1068286"/>
                  <a:pt x="1961265" y="1066823"/>
                </a:cubicBezTo>
                <a:cubicBezTo>
                  <a:pt x="1968577" y="1065361"/>
                  <a:pt x="1975890" y="1062436"/>
                  <a:pt x="1984664" y="1058049"/>
                </a:cubicBezTo>
                <a:cubicBezTo>
                  <a:pt x="1989051" y="1055124"/>
                  <a:pt x="1994901" y="1052199"/>
                  <a:pt x="2000751" y="1044887"/>
                </a:cubicBezTo>
                <a:cubicBezTo>
                  <a:pt x="2008063" y="1039037"/>
                  <a:pt x="2016837" y="1030263"/>
                  <a:pt x="2025612" y="1021488"/>
                </a:cubicBezTo>
                <a:cubicBezTo>
                  <a:pt x="2025612" y="1027338"/>
                  <a:pt x="2024150" y="1034650"/>
                  <a:pt x="2024150" y="1039037"/>
                </a:cubicBezTo>
                <a:cubicBezTo>
                  <a:pt x="2024150" y="1043424"/>
                  <a:pt x="2024150" y="1047812"/>
                  <a:pt x="2025612" y="1049274"/>
                </a:cubicBezTo>
                <a:cubicBezTo>
                  <a:pt x="2025612" y="1052199"/>
                  <a:pt x="2027074" y="1053661"/>
                  <a:pt x="2027074" y="1056586"/>
                </a:cubicBezTo>
                <a:cubicBezTo>
                  <a:pt x="2028537" y="1062436"/>
                  <a:pt x="2034387" y="1068286"/>
                  <a:pt x="2038774" y="1068286"/>
                </a:cubicBezTo>
                <a:cubicBezTo>
                  <a:pt x="2053398" y="1072673"/>
                  <a:pt x="2065097" y="1068286"/>
                  <a:pt x="2081184" y="1060974"/>
                </a:cubicBezTo>
                <a:cubicBezTo>
                  <a:pt x="2087034" y="1058049"/>
                  <a:pt x="2094346" y="1053661"/>
                  <a:pt x="2101658" y="1047812"/>
                </a:cubicBezTo>
                <a:cubicBezTo>
                  <a:pt x="2108970" y="1041962"/>
                  <a:pt x="2117745" y="1034650"/>
                  <a:pt x="2127982" y="1024413"/>
                </a:cubicBezTo>
                <a:cubicBezTo>
                  <a:pt x="2138219" y="1014176"/>
                  <a:pt x="2148456" y="1001014"/>
                  <a:pt x="2160154" y="984927"/>
                </a:cubicBezTo>
                <a:cubicBezTo>
                  <a:pt x="2171854" y="968841"/>
                  <a:pt x="2183554" y="949829"/>
                  <a:pt x="2195253" y="929355"/>
                </a:cubicBezTo>
                <a:lnTo>
                  <a:pt x="2182091" y="929355"/>
                </a:lnTo>
                <a:cubicBezTo>
                  <a:pt x="2171854" y="942517"/>
                  <a:pt x="2161617" y="955679"/>
                  <a:pt x="2152843" y="965916"/>
                </a:cubicBezTo>
                <a:cubicBezTo>
                  <a:pt x="2144068" y="976153"/>
                  <a:pt x="2138219" y="982003"/>
                  <a:pt x="2132368" y="987852"/>
                </a:cubicBezTo>
                <a:cubicBezTo>
                  <a:pt x="2127982" y="992240"/>
                  <a:pt x="2123594" y="996627"/>
                  <a:pt x="2120670" y="998089"/>
                </a:cubicBezTo>
                <a:cubicBezTo>
                  <a:pt x="2117745" y="1001014"/>
                  <a:pt x="2114820" y="1002477"/>
                  <a:pt x="2113357" y="1003939"/>
                </a:cubicBezTo>
                <a:cubicBezTo>
                  <a:pt x="2108970" y="1006864"/>
                  <a:pt x="2106045" y="1006864"/>
                  <a:pt x="2101658" y="1006864"/>
                </a:cubicBezTo>
                <a:cubicBezTo>
                  <a:pt x="2097271" y="1005401"/>
                  <a:pt x="2097271" y="1002477"/>
                  <a:pt x="2097271" y="999552"/>
                </a:cubicBezTo>
                <a:cubicBezTo>
                  <a:pt x="2097271" y="998089"/>
                  <a:pt x="2097271" y="999552"/>
                  <a:pt x="2101658" y="989315"/>
                </a:cubicBezTo>
                <a:cubicBezTo>
                  <a:pt x="2106045" y="980540"/>
                  <a:pt x="2114820" y="965916"/>
                  <a:pt x="2122132" y="949829"/>
                </a:cubicBezTo>
                <a:lnTo>
                  <a:pt x="2218652" y="786038"/>
                </a:lnTo>
                <a:lnTo>
                  <a:pt x="2171854" y="786038"/>
                </a:lnTo>
                <a:lnTo>
                  <a:pt x="2155768" y="800662"/>
                </a:lnTo>
                <a:cubicBezTo>
                  <a:pt x="2149918" y="796275"/>
                  <a:pt x="2144068" y="793350"/>
                  <a:pt x="2139681" y="790425"/>
                </a:cubicBezTo>
                <a:cubicBezTo>
                  <a:pt x="2135294" y="787500"/>
                  <a:pt x="2132368" y="787500"/>
                  <a:pt x="2129444" y="787500"/>
                </a:cubicBezTo>
                <a:cubicBezTo>
                  <a:pt x="2126519" y="787500"/>
                  <a:pt x="2123594" y="786038"/>
                  <a:pt x="2120670" y="786038"/>
                </a:cubicBezTo>
                <a:cubicBezTo>
                  <a:pt x="2104583" y="786038"/>
                  <a:pt x="2088495" y="791888"/>
                  <a:pt x="2070947" y="802125"/>
                </a:cubicBezTo>
                <a:cubicBezTo>
                  <a:pt x="2065097" y="805049"/>
                  <a:pt x="2060710" y="809437"/>
                  <a:pt x="2053398" y="813824"/>
                </a:cubicBezTo>
                <a:cubicBezTo>
                  <a:pt x="2047548" y="818211"/>
                  <a:pt x="2040236" y="824061"/>
                  <a:pt x="2031462" y="832835"/>
                </a:cubicBezTo>
                <a:cubicBezTo>
                  <a:pt x="2022687" y="840148"/>
                  <a:pt x="2013913" y="850385"/>
                  <a:pt x="1996363" y="872321"/>
                </a:cubicBezTo>
                <a:cubicBezTo>
                  <a:pt x="1978814" y="894257"/>
                  <a:pt x="1953953" y="927893"/>
                  <a:pt x="1936404" y="951292"/>
                </a:cubicBezTo>
                <a:cubicBezTo>
                  <a:pt x="1918855" y="974691"/>
                  <a:pt x="1908618" y="986390"/>
                  <a:pt x="1901306" y="995164"/>
                </a:cubicBezTo>
                <a:cubicBezTo>
                  <a:pt x="1893994" y="1002477"/>
                  <a:pt x="1891069" y="1005401"/>
                  <a:pt x="1888144" y="1008326"/>
                </a:cubicBezTo>
                <a:cubicBezTo>
                  <a:pt x="1885219" y="1009789"/>
                  <a:pt x="1882294" y="1011251"/>
                  <a:pt x="1880832" y="1012714"/>
                </a:cubicBezTo>
                <a:cubicBezTo>
                  <a:pt x="1877907" y="1014176"/>
                  <a:pt x="1876445" y="1014176"/>
                  <a:pt x="1873520" y="1014176"/>
                </a:cubicBezTo>
                <a:cubicBezTo>
                  <a:pt x="1869133" y="1014176"/>
                  <a:pt x="1863283" y="1006864"/>
                  <a:pt x="1863283" y="1002477"/>
                </a:cubicBezTo>
                <a:cubicBezTo>
                  <a:pt x="1861821" y="993702"/>
                  <a:pt x="1863283" y="990777"/>
                  <a:pt x="1866208" y="977615"/>
                </a:cubicBezTo>
                <a:cubicBezTo>
                  <a:pt x="1867669" y="970303"/>
                  <a:pt x="1870594" y="958604"/>
                  <a:pt x="1876445" y="943980"/>
                </a:cubicBezTo>
                <a:cubicBezTo>
                  <a:pt x="1880832" y="929355"/>
                  <a:pt x="1886682" y="911806"/>
                  <a:pt x="1893994" y="894257"/>
                </a:cubicBezTo>
                <a:cubicBezTo>
                  <a:pt x="1930554" y="870858"/>
                  <a:pt x="1965652" y="844535"/>
                  <a:pt x="1993438" y="822599"/>
                </a:cubicBezTo>
                <a:cubicBezTo>
                  <a:pt x="2021225" y="800662"/>
                  <a:pt x="2040236" y="780188"/>
                  <a:pt x="2059248" y="758252"/>
                </a:cubicBezTo>
                <a:cubicBezTo>
                  <a:pt x="2078259" y="734853"/>
                  <a:pt x="2098733" y="708530"/>
                  <a:pt x="2117745" y="679281"/>
                </a:cubicBezTo>
                <a:lnTo>
                  <a:pt x="2095808" y="682206"/>
                </a:lnTo>
                <a:cubicBezTo>
                  <a:pt x="2081184" y="702680"/>
                  <a:pt x="2066560" y="721691"/>
                  <a:pt x="2049011" y="742165"/>
                </a:cubicBezTo>
                <a:cubicBezTo>
                  <a:pt x="2031462" y="762639"/>
                  <a:pt x="2010988" y="783113"/>
                  <a:pt x="1987589" y="803587"/>
                </a:cubicBezTo>
                <a:cubicBezTo>
                  <a:pt x="1964190" y="824061"/>
                  <a:pt x="1940791" y="843072"/>
                  <a:pt x="1914468" y="860622"/>
                </a:cubicBezTo>
                <a:cubicBezTo>
                  <a:pt x="1930554" y="829911"/>
                  <a:pt x="1948104" y="800662"/>
                  <a:pt x="1965652" y="769951"/>
                </a:cubicBezTo>
                <a:cubicBezTo>
                  <a:pt x="1983202" y="740703"/>
                  <a:pt x="2002213" y="711454"/>
                  <a:pt x="2021225" y="685131"/>
                </a:cubicBezTo>
                <a:cubicBezTo>
                  <a:pt x="2040236" y="658807"/>
                  <a:pt x="2057784" y="635408"/>
                  <a:pt x="2075334" y="614934"/>
                </a:cubicBezTo>
                <a:cubicBezTo>
                  <a:pt x="2091420" y="594461"/>
                  <a:pt x="2107508" y="579836"/>
                  <a:pt x="2119207" y="568137"/>
                </a:cubicBezTo>
                <a:cubicBezTo>
                  <a:pt x="2130907" y="556438"/>
                  <a:pt x="2141143" y="549125"/>
                  <a:pt x="2148456" y="543276"/>
                </a:cubicBezTo>
                <a:cubicBezTo>
                  <a:pt x="2155768" y="537426"/>
                  <a:pt x="2161617" y="535964"/>
                  <a:pt x="2164542" y="533039"/>
                </a:cubicBezTo>
                <a:cubicBezTo>
                  <a:pt x="2168930" y="531576"/>
                  <a:pt x="2171854" y="530114"/>
                  <a:pt x="2173317" y="530114"/>
                </a:cubicBezTo>
                <a:cubicBezTo>
                  <a:pt x="2174779" y="530114"/>
                  <a:pt x="2176242" y="530114"/>
                  <a:pt x="2177704" y="531576"/>
                </a:cubicBezTo>
                <a:cubicBezTo>
                  <a:pt x="2182091" y="535964"/>
                  <a:pt x="2182091" y="538888"/>
                  <a:pt x="2180629" y="543276"/>
                </a:cubicBezTo>
                <a:cubicBezTo>
                  <a:pt x="2180629" y="544738"/>
                  <a:pt x="2180629" y="546201"/>
                  <a:pt x="2177704" y="552050"/>
                </a:cubicBezTo>
                <a:cubicBezTo>
                  <a:pt x="2174779" y="557900"/>
                  <a:pt x="2171854" y="568137"/>
                  <a:pt x="2167467" y="576911"/>
                </a:cubicBezTo>
                <a:lnTo>
                  <a:pt x="2186479" y="573987"/>
                </a:lnTo>
                <a:cubicBezTo>
                  <a:pt x="2189403" y="568137"/>
                  <a:pt x="2193791" y="562287"/>
                  <a:pt x="2195253" y="557900"/>
                </a:cubicBezTo>
                <a:cubicBezTo>
                  <a:pt x="2196716" y="553513"/>
                  <a:pt x="2198178" y="552050"/>
                  <a:pt x="2198178" y="549125"/>
                </a:cubicBezTo>
                <a:cubicBezTo>
                  <a:pt x="2198178" y="546201"/>
                  <a:pt x="2199640" y="543276"/>
                  <a:pt x="2199640" y="540351"/>
                </a:cubicBezTo>
                <a:cubicBezTo>
                  <a:pt x="2199640" y="530114"/>
                  <a:pt x="2198178" y="521339"/>
                  <a:pt x="2189403" y="514027"/>
                </a:cubicBezTo>
                <a:cubicBezTo>
                  <a:pt x="2186479" y="512565"/>
                  <a:pt x="2185016" y="511102"/>
                  <a:pt x="2182091" y="509640"/>
                </a:cubicBezTo>
                <a:close/>
                <a:moveTo>
                  <a:pt x="2318097" y="508178"/>
                </a:moveTo>
                <a:cubicBezTo>
                  <a:pt x="2294698" y="528651"/>
                  <a:pt x="2268374" y="547663"/>
                  <a:pt x="2244976" y="560825"/>
                </a:cubicBezTo>
                <a:cubicBezTo>
                  <a:pt x="2221577" y="573987"/>
                  <a:pt x="2201103" y="584224"/>
                  <a:pt x="2177704" y="590073"/>
                </a:cubicBezTo>
                <a:cubicBezTo>
                  <a:pt x="2154305" y="595923"/>
                  <a:pt x="2126519" y="598848"/>
                  <a:pt x="2100196" y="598848"/>
                </a:cubicBezTo>
                <a:lnTo>
                  <a:pt x="2051936" y="657345"/>
                </a:lnTo>
                <a:cubicBezTo>
                  <a:pt x="2056323" y="657345"/>
                  <a:pt x="2059248" y="658807"/>
                  <a:pt x="2063635" y="658807"/>
                </a:cubicBezTo>
                <a:cubicBezTo>
                  <a:pt x="2069485" y="660270"/>
                  <a:pt x="2076797" y="660270"/>
                  <a:pt x="2087034" y="660270"/>
                </a:cubicBezTo>
                <a:cubicBezTo>
                  <a:pt x="2104583" y="660270"/>
                  <a:pt x="2122132" y="657345"/>
                  <a:pt x="2139681" y="652957"/>
                </a:cubicBezTo>
                <a:cubicBezTo>
                  <a:pt x="2176242" y="642720"/>
                  <a:pt x="2218652" y="622247"/>
                  <a:pt x="2250825" y="594461"/>
                </a:cubicBezTo>
                <a:cubicBezTo>
                  <a:pt x="2266912" y="581299"/>
                  <a:pt x="2281536" y="566674"/>
                  <a:pt x="2291773" y="552050"/>
                </a:cubicBezTo>
                <a:cubicBezTo>
                  <a:pt x="2303473" y="537426"/>
                  <a:pt x="2310785" y="522802"/>
                  <a:pt x="2318097" y="508178"/>
                </a:cubicBezTo>
                <a:close/>
                <a:moveTo>
                  <a:pt x="851286" y="505253"/>
                </a:moveTo>
                <a:cubicBezTo>
                  <a:pt x="842511" y="505253"/>
                  <a:pt x="832274" y="506715"/>
                  <a:pt x="819112" y="509640"/>
                </a:cubicBezTo>
                <a:cubicBezTo>
                  <a:pt x="805950" y="512565"/>
                  <a:pt x="792789" y="516952"/>
                  <a:pt x="776702" y="524264"/>
                </a:cubicBezTo>
                <a:cubicBezTo>
                  <a:pt x="760614" y="531576"/>
                  <a:pt x="743066" y="540351"/>
                  <a:pt x="724055" y="553513"/>
                </a:cubicBezTo>
                <a:cubicBezTo>
                  <a:pt x="705043" y="566674"/>
                  <a:pt x="683107" y="582761"/>
                  <a:pt x="661171" y="601773"/>
                </a:cubicBezTo>
                <a:cubicBezTo>
                  <a:pt x="639234" y="622247"/>
                  <a:pt x="615835" y="644183"/>
                  <a:pt x="595361" y="669044"/>
                </a:cubicBezTo>
                <a:cubicBezTo>
                  <a:pt x="552951" y="718766"/>
                  <a:pt x="519315" y="772876"/>
                  <a:pt x="500303" y="813824"/>
                </a:cubicBezTo>
                <a:cubicBezTo>
                  <a:pt x="490066" y="835760"/>
                  <a:pt x="484217" y="853309"/>
                  <a:pt x="478367" y="870858"/>
                </a:cubicBezTo>
                <a:cubicBezTo>
                  <a:pt x="473980" y="886945"/>
                  <a:pt x="471055" y="901569"/>
                  <a:pt x="469592" y="916194"/>
                </a:cubicBezTo>
                <a:cubicBezTo>
                  <a:pt x="469592" y="939592"/>
                  <a:pt x="471055" y="958604"/>
                  <a:pt x="473980" y="974691"/>
                </a:cubicBezTo>
                <a:cubicBezTo>
                  <a:pt x="475442" y="982003"/>
                  <a:pt x="476905" y="989315"/>
                  <a:pt x="479830" y="995164"/>
                </a:cubicBezTo>
                <a:cubicBezTo>
                  <a:pt x="482755" y="1002477"/>
                  <a:pt x="485680" y="1008326"/>
                  <a:pt x="488605" y="1012714"/>
                </a:cubicBezTo>
                <a:cubicBezTo>
                  <a:pt x="491529" y="1018563"/>
                  <a:pt x="495917" y="1022951"/>
                  <a:pt x="500303" y="1028800"/>
                </a:cubicBezTo>
                <a:cubicBezTo>
                  <a:pt x="504691" y="1033187"/>
                  <a:pt x="510541" y="1037575"/>
                  <a:pt x="516391" y="1041962"/>
                </a:cubicBezTo>
                <a:cubicBezTo>
                  <a:pt x="522240" y="1046349"/>
                  <a:pt x="529552" y="1049274"/>
                  <a:pt x="539788" y="1053661"/>
                </a:cubicBezTo>
                <a:cubicBezTo>
                  <a:pt x="548564" y="1056586"/>
                  <a:pt x="558801" y="1059511"/>
                  <a:pt x="571963" y="1062436"/>
                </a:cubicBezTo>
                <a:cubicBezTo>
                  <a:pt x="585124" y="1063898"/>
                  <a:pt x="599749" y="1065361"/>
                  <a:pt x="615835" y="1065361"/>
                </a:cubicBezTo>
                <a:cubicBezTo>
                  <a:pt x="640697" y="1066823"/>
                  <a:pt x="664095" y="1063898"/>
                  <a:pt x="705043" y="1055124"/>
                </a:cubicBezTo>
                <a:cubicBezTo>
                  <a:pt x="745991" y="1046349"/>
                  <a:pt x="803026" y="1030263"/>
                  <a:pt x="845436" y="1021488"/>
                </a:cubicBezTo>
                <a:cubicBezTo>
                  <a:pt x="886384" y="1012714"/>
                  <a:pt x="911245" y="1011251"/>
                  <a:pt x="936106" y="1011251"/>
                </a:cubicBezTo>
                <a:cubicBezTo>
                  <a:pt x="952193" y="1011251"/>
                  <a:pt x="966817" y="1012714"/>
                  <a:pt x="978517" y="1014176"/>
                </a:cubicBezTo>
                <a:cubicBezTo>
                  <a:pt x="990216" y="1015638"/>
                  <a:pt x="1000453" y="1018563"/>
                  <a:pt x="1009226" y="1022951"/>
                </a:cubicBezTo>
                <a:cubicBezTo>
                  <a:pt x="1018002" y="1027338"/>
                  <a:pt x="1025314" y="1031725"/>
                  <a:pt x="1034089" y="1039037"/>
                </a:cubicBezTo>
                <a:cubicBezTo>
                  <a:pt x="1042863" y="1046349"/>
                  <a:pt x="1051638" y="1055124"/>
                  <a:pt x="1060412" y="1065361"/>
                </a:cubicBezTo>
                <a:cubicBezTo>
                  <a:pt x="1086736" y="1047812"/>
                  <a:pt x="1114522" y="1036112"/>
                  <a:pt x="1134996" y="1033187"/>
                </a:cubicBezTo>
                <a:cubicBezTo>
                  <a:pt x="1145233" y="1031725"/>
                  <a:pt x="1155470" y="1030263"/>
                  <a:pt x="1164244" y="1030263"/>
                </a:cubicBezTo>
                <a:cubicBezTo>
                  <a:pt x="1168632" y="1030263"/>
                  <a:pt x="1171555" y="1030263"/>
                  <a:pt x="1177406" y="1031725"/>
                </a:cubicBezTo>
                <a:cubicBezTo>
                  <a:pt x="1181793" y="1031725"/>
                  <a:pt x="1187643" y="1033187"/>
                  <a:pt x="1202266" y="1037575"/>
                </a:cubicBezTo>
                <a:cubicBezTo>
                  <a:pt x="1216892" y="1041962"/>
                  <a:pt x="1241753" y="1050737"/>
                  <a:pt x="1265152" y="1060974"/>
                </a:cubicBezTo>
                <a:cubicBezTo>
                  <a:pt x="1241753" y="1039037"/>
                  <a:pt x="1215429" y="1018563"/>
                  <a:pt x="1192030" y="1005401"/>
                </a:cubicBezTo>
                <a:cubicBezTo>
                  <a:pt x="1168632" y="990777"/>
                  <a:pt x="1148158" y="982003"/>
                  <a:pt x="1121834" y="977615"/>
                </a:cubicBezTo>
                <a:cubicBezTo>
                  <a:pt x="1096973" y="971766"/>
                  <a:pt x="1066262" y="968841"/>
                  <a:pt x="1035551" y="968841"/>
                </a:cubicBezTo>
                <a:cubicBezTo>
                  <a:pt x="1009226" y="967378"/>
                  <a:pt x="981440" y="968841"/>
                  <a:pt x="931719" y="980540"/>
                </a:cubicBezTo>
                <a:cubicBezTo>
                  <a:pt x="881997" y="992240"/>
                  <a:pt x="810338" y="1012714"/>
                  <a:pt x="763539" y="1024413"/>
                </a:cubicBezTo>
                <a:cubicBezTo>
                  <a:pt x="716743" y="1036112"/>
                  <a:pt x="693344" y="1039037"/>
                  <a:pt x="669945" y="1039037"/>
                </a:cubicBezTo>
                <a:cubicBezTo>
                  <a:pt x="658246" y="1039037"/>
                  <a:pt x="646546" y="1037575"/>
                  <a:pt x="637772" y="1036112"/>
                </a:cubicBezTo>
                <a:cubicBezTo>
                  <a:pt x="627535" y="1034650"/>
                  <a:pt x="618760" y="1031725"/>
                  <a:pt x="611448" y="1028800"/>
                </a:cubicBezTo>
                <a:cubicBezTo>
                  <a:pt x="604136" y="1025875"/>
                  <a:pt x="596824" y="1021488"/>
                  <a:pt x="592437" y="1018563"/>
                </a:cubicBezTo>
                <a:cubicBezTo>
                  <a:pt x="586587" y="1014176"/>
                  <a:pt x="582200" y="1009789"/>
                  <a:pt x="577812" y="1005401"/>
                </a:cubicBezTo>
                <a:cubicBezTo>
                  <a:pt x="573425" y="1001014"/>
                  <a:pt x="570500" y="995164"/>
                  <a:pt x="567574" y="989315"/>
                </a:cubicBezTo>
                <a:cubicBezTo>
                  <a:pt x="564651" y="983465"/>
                  <a:pt x="563188" y="977615"/>
                  <a:pt x="560263" y="971766"/>
                </a:cubicBezTo>
                <a:cubicBezTo>
                  <a:pt x="558801" y="964454"/>
                  <a:pt x="557338" y="958604"/>
                  <a:pt x="557338" y="949829"/>
                </a:cubicBezTo>
                <a:cubicBezTo>
                  <a:pt x="557338" y="942517"/>
                  <a:pt x="557338" y="933743"/>
                  <a:pt x="557338" y="926431"/>
                </a:cubicBezTo>
                <a:cubicBezTo>
                  <a:pt x="558801" y="914731"/>
                  <a:pt x="561726" y="903032"/>
                  <a:pt x="566113" y="885483"/>
                </a:cubicBezTo>
                <a:cubicBezTo>
                  <a:pt x="571963" y="869396"/>
                  <a:pt x="579275" y="848922"/>
                  <a:pt x="590974" y="822599"/>
                </a:cubicBezTo>
                <a:cubicBezTo>
                  <a:pt x="602674" y="799200"/>
                  <a:pt x="618760" y="768489"/>
                  <a:pt x="637772" y="739240"/>
                </a:cubicBezTo>
                <a:cubicBezTo>
                  <a:pt x="656783" y="709992"/>
                  <a:pt x="677257" y="680743"/>
                  <a:pt x="696268" y="655882"/>
                </a:cubicBezTo>
                <a:cubicBezTo>
                  <a:pt x="715280" y="631021"/>
                  <a:pt x="734292" y="612010"/>
                  <a:pt x="750378" y="595923"/>
                </a:cubicBezTo>
                <a:cubicBezTo>
                  <a:pt x="766465" y="579836"/>
                  <a:pt x="779627" y="568137"/>
                  <a:pt x="792789" y="559362"/>
                </a:cubicBezTo>
                <a:cubicBezTo>
                  <a:pt x="804488" y="550588"/>
                  <a:pt x="814725" y="544738"/>
                  <a:pt x="823500" y="540351"/>
                </a:cubicBezTo>
                <a:cubicBezTo>
                  <a:pt x="832274" y="535964"/>
                  <a:pt x="839586" y="533039"/>
                  <a:pt x="846898" y="531576"/>
                </a:cubicBezTo>
                <a:cubicBezTo>
                  <a:pt x="854210" y="530114"/>
                  <a:pt x="860060" y="528651"/>
                  <a:pt x="865910" y="528651"/>
                </a:cubicBezTo>
                <a:cubicBezTo>
                  <a:pt x="870297" y="528651"/>
                  <a:pt x="873222" y="528651"/>
                  <a:pt x="876147" y="531576"/>
                </a:cubicBezTo>
                <a:cubicBezTo>
                  <a:pt x="879072" y="534501"/>
                  <a:pt x="879072" y="537426"/>
                  <a:pt x="879072" y="541813"/>
                </a:cubicBezTo>
                <a:cubicBezTo>
                  <a:pt x="879072" y="543276"/>
                  <a:pt x="879072" y="546201"/>
                  <a:pt x="879072" y="549125"/>
                </a:cubicBezTo>
                <a:cubicBezTo>
                  <a:pt x="870297" y="553513"/>
                  <a:pt x="860060" y="560825"/>
                  <a:pt x="852748" y="566674"/>
                </a:cubicBezTo>
                <a:cubicBezTo>
                  <a:pt x="849823" y="569599"/>
                  <a:pt x="846898" y="572524"/>
                  <a:pt x="843974" y="575449"/>
                </a:cubicBezTo>
                <a:cubicBezTo>
                  <a:pt x="838124" y="581299"/>
                  <a:pt x="835199" y="587148"/>
                  <a:pt x="833737" y="594461"/>
                </a:cubicBezTo>
                <a:cubicBezTo>
                  <a:pt x="832274" y="598848"/>
                  <a:pt x="838124" y="607622"/>
                  <a:pt x="841049" y="609085"/>
                </a:cubicBezTo>
                <a:cubicBezTo>
                  <a:pt x="852748" y="617859"/>
                  <a:pt x="865910" y="612010"/>
                  <a:pt x="879072" y="595923"/>
                </a:cubicBezTo>
                <a:cubicBezTo>
                  <a:pt x="881997" y="592998"/>
                  <a:pt x="884921" y="588611"/>
                  <a:pt x="886384" y="585686"/>
                </a:cubicBezTo>
                <a:cubicBezTo>
                  <a:pt x="889309" y="581299"/>
                  <a:pt x="890771" y="576911"/>
                  <a:pt x="892233" y="572524"/>
                </a:cubicBezTo>
                <a:cubicBezTo>
                  <a:pt x="899546" y="554975"/>
                  <a:pt x="902470" y="537426"/>
                  <a:pt x="892233" y="521339"/>
                </a:cubicBezTo>
                <a:cubicBezTo>
                  <a:pt x="889309" y="518415"/>
                  <a:pt x="886384" y="515490"/>
                  <a:pt x="883459" y="512565"/>
                </a:cubicBezTo>
                <a:cubicBezTo>
                  <a:pt x="880534" y="509640"/>
                  <a:pt x="876147" y="508178"/>
                  <a:pt x="870297" y="506715"/>
                </a:cubicBezTo>
                <a:cubicBezTo>
                  <a:pt x="865910" y="505253"/>
                  <a:pt x="860060" y="503790"/>
                  <a:pt x="851286" y="505253"/>
                </a:cubicBezTo>
                <a:close/>
                <a:moveTo>
                  <a:pt x="1726180" y="502876"/>
                </a:moveTo>
                <a:cubicBezTo>
                  <a:pt x="1717406" y="503791"/>
                  <a:pt x="1708265" y="505984"/>
                  <a:pt x="1698029" y="509640"/>
                </a:cubicBezTo>
                <a:cubicBezTo>
                  <a:pt x="1681942" y="514027"/>
                  <a:pt x="1664393" y="521339"/>
                  <a:pt x="1642457" y="533039"/>
                </a:cubicBezTo>
                <a:cubicBezTo>
                  <a:pt x="1620521" y="544738"/>
                  <a:pt x="1595659" y="560825"/>
                  <a:pt x="1569336" y="579836"/>
                </a:cubicBezTo>
                <a:cubicBezTo>
                  <a:pt x="1543012" y="598848"/>
                  <a:pt x="1516688" y="622247"/>
                  <a:pt x="1493290" y="645645"/>
                </a:cubicBezTo>
                <a:cubicBezTo>
                  <a:pt x="1468428" y="670507"/>
                  <a:pt x="1446492" y="695368"/>
                  <a:pt x="1427481" y="720229"/>
                </a:cubicBezTo>
                <a:cubicBezTo>
                  <a:pt x="1408469" y="745090"/>
                  <a:pt x="1392381" y="768489"/>
                  <a:pt x="1380683" y="790425"/>
                </a:cubicBezTo>
                <a:cubicBezTo>
                  <a:pt x="1367521" y="812362"/>
                  <a:pt x="1357284" y="832835"/>
                  <a:pt x="1349972" y="853309"/>
                </a:cubicBezTo>
                <a:cubicBezTo>
                  <a:pt x="1342660" y="872321"/>
                  <a:pt x="1336810" y="891332"/>
                  <a:pt x="1332423" y="907419"/>
                </a:cubicBezTo>
                <a:cubicBezTo>
                  <a:pt x="1328036" y="924968"/>
                  <a:pt x="1325111" y="939592"/>
                  <a:pt x="1325111" y="952754"/>
                </a:cubicBezTo>
                <a:cubicBezTo>
                  <a:pt x="1323649" y="965916"/>
                  <a:pt x="1323649" y="974691"/>
                  <a:pt x="1325111" y="984927"/>
                </a:cubicBezTo>
                <a:cubicBezTo>
                  <a:pt x="1326573" y="993702"/>
                  <a:pt x="1328036" y="1002477"/>
                  <a:pt x="1332423" y="1011251"/>
                </a:cubicBezTo>
                <a:cubicBezTo>
                  <a:pt x="1335348" y="1020026"/>
                  <a:pt x="1341198" y="1027338"/>
                  <a:pt x="1345585" y="1034650"/>
                </a:cubicBezTo>
                <a:cubicBezTo>
                  <a:pt x="1351435" y="1041962"/>
                  <a:pt x="1358747" y="1047812"/>
                  <a:pt x="1366059" y="1053661"/>
                </a:cubicBezTo>
                <a:cubicBezTo>
                  <a:pt x="1373371" y="1058049"/>
                  <a:pt x="1382145" y="1062436"/>
                  <a:pt x="1390920" y="1065361"/>
                </a:cubicBezTo>
                <a:cubicBezTo>
                  <a:pt x="1409931" y="1071210"/>
                  <a:pt x="1427481" y="1071210"/>
                  <a:pt x="1449417" y="1065361"/>
                </a:cubicBezTo>
                <a:cubicBezTo>
                  <a:pt x="1459654" y="1062436"/>
                  <a:pt x="1472816" y="1056586"/>
                  <a:pt x="1485978" y="1049274"/>
                </a:cubicBezTo>
                <a:cubicBezTo>
                  <a:pt x="1513764" y="1034650"/>
                  <a:pt x="1544475" y="1009789"/>
                  <a:pt x="1567873" y="982003"/>
                </a:cubicBezTo>
                <a:cubicBezTo>
                  <a:pt x="1592735" y="954217"/>
                  <a:pt x="1610284" y="926431"/>
                  <a:pt x="1620521" y="900107"/>
                </a:cubicBezTo>
                <a:cubicBezTo>
                  <a:pt x="1621983" y="889870"/>
                  <a:pt x="1626370" y="876708"/>
                  <a:pt x="1629295" y="865009"/>
                </a:cubicBezTo>
                <a:cubicBezTo>
                  <a:pt x="1632220" y="853309"/>
                  <a:pt x="1633682" y="841610"/>
                  <a:pt x="1635145" y="831373"/>
                </a:cubicBezTo>
                <a:cubicBezTo>
                  <a:pt x="1636607" y="822599"/>
                  <a:pt x="1635145" y="815286"/>
                  <a:pt x="1633682" y="807974"/>
                </a:cubicBezTo>
                <a:cubicBezTo>
                  <a:pt x="1632220" y="805049"/>
                  <a:pt x="1630758" y="802125"/>
                  <a:pt x="1630758" y="800662"/>
                </a:cubicBezTo>
                <a:cubicBezTo>
                  <a:pt x="1627833" y="794812"/>
                  <a:pt x="1623445" y="793350"/>
                  <a:pt x="1619058" y="790425"/>
                </a:cubicBezTo>
                <a:cubicBezTo>
                  <a:pt x="1616132" y="788963"/>
                  <a:pt x="1613207" y="787500"/>
                  <a:pt x="1610284" y="787500"/>
                </a:cubicBezTo>
                <a:cubicBezTo>
                  <a:pt x="1607359" y="786038"/>
                  <a:pt x="1602972" y="786038"/>
                  <a:pt x="1597122" y="786038"/>
                </a:cubicBezTo>
                <a:cubicBezTo>
                  <a:pt x="1592735" y="786038"/>
                  <a:pt x="1586885" y="786038"/>
                  <a:pt x="1581035" y="787500"/>
                </a:cubicBezTo>
                <a:cubicBezTo>
                  <a:pt x="1559099" y="791888"/>
                  <a:pt x="1535700" y="803587"/>
                  <a:pt x="1512301" y="829911"/>
                </a:cubicBezTo>
                <a:cubicBezTo>
                  <a:pt x="1506452" y="837223"/>
                  <a:pt x="1500602" y="844535"/>
                  <a:pt x="1494752" y="853309"/>
                </a:cubicBezTo>
                <a:cubicBezTo>
                  <a:pt x="1488902" y="862084"/>
                  <a:pt x="1483053" y="872321"/>
                  <a:pt x="1477203" y="884020"/>
                </a:cubicBezTo>
                <a:cubicBezTo>
                  <a:pt x="1471353" y="895720"/>
                  <a:pt x="1466966" y="907419"/>
                  <a:pt x="1462579" y="920581"/>
                </a:cubicBezTo>
                <a:cubicBezTo>
                  <a:pt x="1458192" y="933743"/>
                  <a:pt x="1455267" y="946905"/>
                  <a:pt x="1452342" y="960066"/>
                </a:cubicBezTo>
                <a:cubicBezTo>
                  <a:pt x="1464041" y="949829"/>
                  <a:pt x="1477203" y="939592"/>
                  <a:pt x="1485978" y="933743"/>
                </a:cubicBezTo>
                <a:cubicBezTo>
                  <a:pt x="1494752" y="926431"/>
                  <a:pt x="1500602" y="923506"/>
                  <a:pt x="1507914" y="919118"/>
                </a:cubicBezTo>
                <a:cubicBezTo>
                  <a:pt x="1515226" y="914731"/>
                  <a:pt x="1524000" y="910344"/>
                  <a:pt x="1534238" y="905957"/>
                </a:cubicBezTo>
                <a:cubicBezTo>
                  <a:pt x="1537162" y="891332"/>
                  <a:pt x="1543012" y="876708"/>
                  <a:pt x="1548862" y="863546"/>
                </a:cubicBezTo>
                <a:cubicBezTo>
                  <a:pt x="1551787" y="857697"/>
                  <a:pt x="1554712" y="851847"/>
                  <a:pt x="1557636" y="847460"/>
                </a:cubicBezTo>
                <a:cubicBezTo>
                  <a:pt x="1560561" y="843072"/>
                  <a:pt x="1563486" y="838685"/>
                  <a:pt x="1566411" y="835760"/>
                </a:cubicBezTo>
                <a:cubicBezTo>
                  <a:pt x="1573723" y="826986"/>
                  <a:pt x="1581035" y="821136"/>
                  <a:pt x="1588347" y="818211"/>
                </a:cubicBezTo>
                <a:cubicBezTo>
                  <a:pt x="1598584" y="815286"/>
                  <a:pt x="1607359" y="813824"/>
                  <a:pt x="1616132" y="821136"/>
                </a:cubicBezTo>
                <a:cubicBezTo>
                  <a:pt x="1620521" y="825523"/>
                  <a:pt x="1620521" y="829911"/>
                  <a:pt x="1620521" y="834298"/>
                </a:cubicBezTo>
                <a:cubicBezTo>
                  <a:pt x="1620521" y="851847"/>
                  <a:pt x="1616132" y="867934"/>
                  <a:pt x="1610284" y="886945"/>
                </a:cubicBezTo>
                <a:cubicBezTo>
                  <a:pt x="1607359" y="895720"/>
                  <a:pt x="1602972" y="903032"/>
                  <a:pt x="1598584" y="913269"/>
                </a:cubicBezTo>
                <a:cubicBezTo>
                  <a:pt x="1594197" y="922043"/>
                  <a:pt x="1588347" y="930818"/>
                  <a:pt x="1581035" y="941055"/>
                </a:cubicBezTo>
                <a:cubicBezTo>
                  <a:pt x="1567873" y="960066"/>
                  <a:pt x="1548862" y="980540"/>
                  <a:pt x="1526925" y="996627"/>
                </a:cubicBezTo>
                <a:cubicBezTo>
                  <a:pt x="1506452" y="1012714"/>
                  <a:pt x="1485978" y="1024413"/>
                  <a:pt x="1471353" y="1028800"/>
                </a:cubicBezTo>
                <a:cubicBezTo>
                  <a:pt x="1464041" y="1030263"/>
                  <a:pt x="1459654" y="1031725"/>
                  <a:pt x="1453803" y="1031725"/>
                </a:cubicBezTo>
                <a:cubicBezTo>
                  <a:pt x="1449417" y="1031725"/>
                  <a:pt x="1445030" y="1031725"/>
                  <a:pt x="1439180" y="1030263"/>
                </a:cubicBezTo>
                <a:cubicBezTo>
                  <a:pt x="1430405" y="1027338"/>
                  <a:pt x="1421631" y="1021488"/>
                  <a:pt x="1414319" y="1012714"/>
                </a:cubicBezTo>
                <a:cubicBezTo>
                  <a:pt x="1411394" y="1008326"/>
                  <a:pt x="1408469" y="1003939"/>
                  <a:pt x="1405544" y="998089"/>
                </a:cubicBezTo>
                <a:cubicBezTo>
                  <a:pt x="1401157" y="987852"/>
                  <a:pt x="1399695" y="976153"/>
                  <a:pt x="1401157" y="965916"/>
                </a:cubicBezTo>
                <a:cubicBezTo>
                  <a:pt x="1402619" y="954217"/>
                  <a:pt x="1405544" y="942517"/>
                  <a:pt x="1412856" y="922043"/>
                </a:cubicBezTo>
                <a:cubicBezTo>
                  <a:pt x="1420169" y="901569"/>
                  <a:pt x="1433330" y="872321"/>
                  <a:pt x="1449417" y="840148"/>
                </a:cubicBezTo>
                <a:cubicBezTo>
                  <a:pt x="1466966" y="807974"/>
                  <a:pt x="1487440" y="771414"/>
                  <a:pt x="1507914" y="740703"/>
                </a:cubicBezTo>
                <a:cubicBezTo>
                  <a:pt x="1528388" y="709992"/>
                  <a:pt x="1547399" y="682206"/>
                  <a:pt x="1566411" y="661732"/>
                </a:cubicBezTo>
                <a:cubicBezTo>
                  <a:pt x="1581035" y="639796"/>
                  <a:pt x="1597122" y="622247"/>
                  <a:pt x="1611746" y="609085"/>
                </a:cubicBezTo>
                <a:cubicBezTo>
                  <a:pt x="1626370" y="595923"/>
                  <a:pt x="1638070" y="584224"/>
                  <a:pt x="1649768" y="575449"/>
                </a:cubicBezTo>
                <a:cubicBezTo>
                  <a:pt x="1661468" y="566674"/>
                  <a:pt x="1670243" y="560825"/>
                  <a:pt x="1680480" y="554975"/>
                </a:cubicBezTo>
                <a:cubicBezTo>
                  <a:pt x="1689255" y="550588"/>
                  <a:pt x="1698029" y="546201"/>
                  <a:pt x="1705341" y="543276"/>
                </a:cubicBezTo>
                <a:cubicBezTo>
                  <a:pt x="1725815" y="535964"/>
                  <a:pt x="1743364" y="534501"/>
                  <a:pt x="1763838" y="535964"/>
                </a:cubicBezTo>
                <a:cubicBezTo>
                  <a:pt x="1747751" y="544738"/>
                  <a:pt x="1733127" y="554975"/>
                  <a:pt x="1719965" y="565212"/>
                </a:cubicBezTo>
                <a:cubicBezTo>
                  <a:pt x="1692179" y="587148"/>
                  <a:pt x="1673168" y="609085"/>
                  <a:pt x="1660006" y="628096"/>
                </a:cubicBezTo>
                <a:cubicBezTo>
                  <a:pt x="1652694" y="638333"/>
                  <a:pt x="1648307" y="647108"/>
                  <a:pt x="1643918" y="654420"/>
                </a:cubicBezTo>
                <a:cubicBezTo>
                  <a:pt x="1639532" y="663194"/>
                  <a:pt x="1636607" y="670507"/>
                  <a:pt x="1635145" y="677819"/>
                </a:cubicBezTo>
                <a:cubicBezTo>
                  <a:pt x="1633682" y="685131"/>
                  <a:pt x="1632220" y="692443"/>
                  <a:pt x="1630758" y="696830"/>
                </a:cubicBezTo>
                <a:cubicBezTo>
                  <a:pt x="1630758" y="702680"/>
                  <a:pt x="1630758" y="705605"/>
                  <a:pt x="1630758" y="709992"/>
                </a:cubicBezTo>
                <a:cubicBezTo>
                  <a:pt x="1630758" y="712917"/>
                  <a:pt x="1632220" y="715842"/>
                  <a:pt x="1633682" y="718766"/>
                </a:cubicBezTo>
                <a:cubicBezTo>
                  <a:pt x="1635145" y="721691"/>
                  <a:pt x="1636607" y="723154"/>
                  <a:pt x="1638070" y="726079"/>
                </a:cubicBezTo>
                <a:cubicBezTo>
                  <a:pt x="1639532" y="727541"/>
                  <a:pt x="1642457" y="730466"/>
                  <a:pt x="1643918" y="731928"/>
                </a:cubicBezTo>
                <a:cubicBezTo>
                  <a:pt x="1646843" y="733391"/>
                  <a:pt x="1649768" y="734853"/>
                  <a:pt x="1652694" y="734853"/>
                </a:cubicBezTo>
                <a:cubicBezTo>
                  <a:pt x="1655619" y="736316"/>
                  <a:pt x="1660006" y="736316"/>
                  <a:pt x="1664393" y="736316"/>
                </a:cubicBezTo>
                <a:cubicBezTo>
                  <a:pt x="1673168" y="736316"/>
                  <a:pt x="1680480" y="734853"/>
                  <a:pt x="1690717" y="729003"/>
                </a:cubicBezTo>
                <a:cubicBezTo>
                  <a:pt x="1696567" y="726079"/>
                  <a:pt x="1702416" y="723154"/>
                  <a:pt x="1708266" y="718766"/>
                </a:cubicBezTo>
                <a:cubicBezTo>
                  <a:pt x="1714116" y="714379"/>
                  <a:pt x="1721428" y="708530"/>
                  <a:pt x="1728740" y="701217"/>
                </a:cubicBezTo>
                <a:cubicBezTo>
                  <a:pt x="1736052" y="693905"/>
                  <a:pt x="1743364" y="686593"/>
                  <a:pt x="1749214" y="676356"/>
                </a:cubicBezTo>
                <a:cubicBezTo>
                  <a:pt x="1756526" y="667582"/>
                  <a:pt x="1762376" y="657345"/>
                  <a:pt x="1768225" y="647108"/>
                </a:cubicBezTo>
                <a:cubicBezTo>
                  <a:pt x="1778462" y="628096"/>
                  <a:pt x="1787237" y="609085"/>
                  <a:pt x="1790162" y="592998"/>
                </a:cubicBezTo>
                <a:cubicBezTo>
                  <a:pt x="1791624" y="585686"/>
                  <a:pt x="1793087" y="578374"/>
                  <a:pt x="1794549" y="571062"/>
                </a:cubicBezTo>
                <a:cubicBezTo>
                  <a:pt x="1794549" y="569599"/>
                  <a:pt x="1794549" y="568137"/>
                  <a:pt x="1794549" y="563750"/>
                </a:cubicBezTo>
                <a:cubicBezTo>
                  <a:pt x="1794549" y="560825"/>
                  <a:pt x="1794549" y="554975"/>
                  <a:pt x="1794549" y="550588"/>
                </a:cubicBezTo>
                <a:cubicBezTo>
                  <a:pt x="1794549" y="546201"/>
                  <a:pt x="1794549" y="544738"/>
                  <a:pt x="1794549" y="541813"/>
                </a:cubicBezTo>
                <a:cubicBezTo>
                  <a:pt x="1812098" y="541813"/>
                  <a:pt x="1829647" y="543276"/>
                  <a:pt x="1847196" y="547663"/>
                </a:cubicBezTo>
                <a:cubicBezTo>
                  <a:pt x="1863283" y="552050"/>
                  <a:pt x="1879370" y="559362"/>
                  <a:pt x="1901306" y="572524"/>
                </a:cubicBezTo>
                <a:cubicBezTo>
                  <a:pt x="1923242" y="587148"/>
                  <a:pt x="1952491" y="607622"/>
                  <a:pt x="1980277" y="631021"/>
                </a:cubicBezTo>
                <a:lnTo>
                  <a:pt x="2032924" y="576911"/>
                </a:lnTo>
                <a:cubicBezTo>
                  <a:pt x="2015375" y="562287"/>
                  <a:pt x="1997826" y="547663"/>
                  <a:pt x="1981739" y="537426"/>
                </a:cubicBezTo>
                <a:cubicBezTo>
                  <a:pt x="1965652" y="527189"/>
                  <a:pt x="1952491" y="519877"/>
                  <a:pt x="1940791" y="515490"/>
                </a:cubicBezTo>
                <a:cubicBezTo>
                  <a:pt x="1929092" y="511102"/>
                  <a:pt x="1917393" y="506715"/>
                  <a:pt x="1908618" y="505253"/>
                </a:cubicBezTo>
                <a:cubicBezTo>
                  <a:pt x="1893994" y="502328"/>
                  <a:pt x="1880832" y="500865"/>
                  <a:pt x="1864744" y="503790"/>
                </a:cubicBezTo>
                <a:cubicBezTo>
                  <a:pt x="1858896" y="503790"/>
                  <a:pt x="1853046" y="505253"/>
                  <a:pt x="1841347" y="508178"/>
                </a:cubicBezTo>
                <a:cubicBezTo>
                  <a:pt x="1829647" y="511102"/>
                  <a:pt x="1812098" y="516952"/>
                  <a:pt x="1794549" y="522802"/>
                </a:cubicBezTo>
                <a:cubicBezTo>
                  <a:pt x="1785775" y="516952"/>
                  <a:pt x="1775537" y="511102"/>
                  <a:pt x="1768225" y="508178"/>
                </a:cubicBezTo>
                <a:cubicBezTo>
                  <a:pt x="1760913" y="505253"/>
                  <a:pt x="1756526" y="503790"/>
                  <a:pt x="1752139" y="503790"/>
                </a:cubicBezTo>
                <a:cubicBezTo>
                  <a:pt x="1743364" y="502328"/>
                  <a:pt x="1734955" y="501962"/>
                  <a:pt x="1726180" y="50287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859345"/>
                </a:lnTo>
                <a:lnTo>
                  <a:pt x="6587067" y="5859345"/>
                </a:lnTo>
                <a:lnTo>
                  <a:pt x="6587067" y="4673658"/>
                </a:lnTo>
                <a:lnTo>
                  <a:pt x="0" y="4673658"/>
                </a:lnTo>
                <a:lnTo>
                  <a:pt x="0" y="4397961"/>
                </a:lnTo>
                <a:lnTo>
                  <a:pt x="4672121" y="4397961"/>
                </a:lnTo>
                <a:lnTo>
                  <a:pt x="4672121" y="4351438"/>
                </a:lnTo>
                <a:lnTo>
                  <a:pt x="0" y="435143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ZA"/>
          </a:p>
        </p:txBody>
      </p:sp>
      <p:pic>
        <p:nvPicPr>
          <p:cNvPr id="3" name="Picture 2" descr="A person playing a guitar&#10;&#10;Description automatically generated with low confidence">
            <a:extLst>
              <a:ext uri="{FF2B5EF4-FFF2-40B4-BE49-F238E27FC236}">
                <a16:creationId xmlns:a16="http://schemas.microsoft.com/office/drawing/2014/main" id="{ED131E25-F952-4CD9-823B-CAD18937EB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91" b="333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2FB94C0D-94EA-4D6B-B115-E5640B48A2D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7859" y="4706620"/>
            <a:ext cx="6104272" cy="1092643"/>
          </a:xfrm>
          <a:prstGeom prst="rect">
            <a:avLst/>
          </a:prstGeom>
        </p:spPr>
        <p:txBody>
          <a:bodyPr anchor="ctr"/>
          <a:lstStyle>
            <a:lvl1pPr algn="l">
              <a:defRPr sz="6000">
                <a:solidFill>
                  <a:schemeClr val="bg1"/>
                </a:solidFill>
                <a:latin typeface="TCCC-UnityHeadline" panose="020B0805030303020204" pitchFamily="34" charset="0"/>
              </a:defRPr>
            </a:lvl1pPr>
          </a:lstStyle>
          <a:p>
            <a:r>
              <a:rPr lang="en-US"/>
              <a:t>Title Page</a:t>
            </a:r>
            <a:endParaRPr lang="en-ZA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A309C4A-CC34-4818-AA42-0D91977B6A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1055" y="5973209"/>
            <a:ext cx="9144000" cy="39919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0">
                <a:solidFill>
                  <a:schemeClr val="bg1"/>
                </a:solidFill>
                <a:latin typeface="TCCC-UnityText" panose="020B0305030303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2400">
                <a:solidFill>
                  <a:schemeClr val="bg1"/>
                </a:solidFill>
                <a:latin typeface="TCCC-UnityText" panose="020B0305030303020204" pitchFamily="34" charset="0"/>
              </a:rPr>
              <a:t>Sub title | Dat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138DFD-ED2E-4B5E-BF99-9B5E3E0AEA93}"/>
              </a:ext>
            </a:extLst>
          </p:cNvPr>
          <p:cNvSpPr/>
          <p:nvPr userDrawn="1"/>
        </p:nvSpPr>
        <p:spPr>
          <a:xfrm>
            <a:off x="-1659468" y="4678717"/>
            <a:ext cx="8246535" cy="1185687"/>
          </a:xfrm>
          <a:prstGeom prst="rect">
            <a:avLst/>
          </a:prstGeom>
          <a:solidFill>
            <a:srgbClr val="E41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5FFD2BC-62F2-4F1E-833E-89BFB46ECEF4}"/>
              </a:ext>
            </a:extLst>
          </p:cNvPr>
          <p:cNvSpPr/>
          <p:nvPr userDrawn="1"/>
        </p:nvSpPr>
        <p:spPr>
          <a:xfrm>
            <a:off x="-2473746" y="4356496"/>
            <a:ext cx="7145867" cy="465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400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B6DF3614-C6D5-4B1D-81F4-2AED65564BFF}"/>
              </a:ext>
            </a:extLst>
          </p:cNvPr>
          <p:cNvSpPr/>
          <p:nvPr userDrawn="1"/>
        </p:nvSpPr>
        <p:spPr>
          <a:xfrm>
            <a:off x="7191864" y="3043909"/>
            <a:ext cx="4343329" cy="2862353"/>
          </a:xfrm>
          <a:custGeom>
            <a:avLst/>
            <a:gdLst>
              <a:gd name="connsiteX0" fmla="*/ 2463262 w 4343329"/>
              <a:gd name="connsiteY0" fmla="*/ 2032818 h 2862353"/>
              <a:gd name="connsiteX1" fmla="*/ 2506501 w 4343329"/>
              <a:gd name="connsiteY1" fmla="*/ 2076056 h 2862353"/>
              <a:gd name="connsiteX2" fmla="*/ 2463262 w 4343329"/>
              <a:gd name="connsiteY2" fmla="*/ 2119295 h 2862353"/>
              <a:gd name="connsiteX3" fmla="*/ 2420024 w 4343329"/>
              <a:gd name="connsiteY3" fmla="*/ 2076056 h 2862353"/>
              <a:gd name="connsiteX4" fmla="*/ 2463262 w 4343329"/>
              <a:gd name="connsiteY4" fmla="*/ 2032818 h 2862353"/>
              <a:gd name="connsiteX5" fmla="*/ 2295114 w 4343329"/>
              <a:gd name="connsiteY5" fmla="*/ 1959153 h 2862353"/>
              <a:gd name="connsiteX6" fmla="*/ 2314331 w 4343329"/>
              <a:gd name="connsiteY6" fmla="*/ 1987178 h 2862353"/>
              <a:gd name="connsiteX7" fmla="*/ 2324740 w 4343329"/>
              <a:gd name="connsiteY7" fmla="*/ 2092871 h 2862353"/>
              <a:gd name="connsiteX8" fmla="*/ 2302320 w 4343329"/>
              <a:gd name="connsiteY8" fmla="*/ 2100078 h 2862353"/>
              <a:gd name="connsiteX9" fmla="*/ 2303121 w 4343329"/>
              <a:gd name="connsiteY9" fmla="*/ 2145718 h 2862353"/>
              <a:gd name="connsiteX10" fmla="*/ 2279900 w 4343329"/>
              <a:gd name="connsiteY10" fmla="*/ 2172942 h 2862353"/>
              <a:gd name="connsiteX11" fmla="*/ 2270292 w 4343329"/>
              <a:gd name="connsiteY11" fmla="*/ 2216181 h 2862353"/>
              <a:gd name="connsiteX12" fmla="*/ 2251075 w 4343329"/>
              <a:gd name="connsiteY12" fmla="*/ 2254615 h 2862353"/>
              <a:gd name="connsiteX13" fmla="*/ 2243868 w 4343329"/>
              <a:gd name="connsiteY13" fmla="*/ 2285842 h 2862353"/>
              <a:gd name="connsiteX14" fmla="*/ 2179011 w 4343329"/>
              <a:gd name="connsiteY14" fmla="*/ 2423565 h 2862353"/>
              <a:gd name="connsiteX15" fmla="*/ 2162997 w 4343329"/>
              <a:gd name="connsiteY15" fmla="*/ 2442782 h 2862353"/>
              <a:gd name="connsiteX16" fmla="*/ 2153388 w 4343329"/>
              <a:gd name="connsiteY16" fmla="*/ 2477212 h 2862353"/>
              <a:gd name="connsiteX17" fmla="*/ 2130968 w 4343329"/>
              <a:gd name="connsiteY17" fmla="*/ 2495628 h 2862353"/>
              <a:gd name="connsiteX18" fmla="*/ 2106947 w 4343329"/>
              <a:gd name="connsiteY18" fmla="*/ 2495628 h 2862353"/>
              <a:gd name="connsiteX19" fmla="*/ 2063709 w 4343329"/>
              <a:gd name="connsiteY19" fmla="*/ 2502835 h 2862353"/>
              <a:gd name="connsiteX20" fmla="*/ 2028477 w 4343329"/>
              <a:gd name="connsiteY20" fmla="*/ 2457194 h 2862353"/>
              <a:gd name="connsiteX21" fmla="*/ 2032481 w 4343329"/>
              <a:gd name="connsiteY21" fmla="*/ 2413956 h 2862353"/>
              <a:gd name="connsiteX22" fmla="*/ 2021271 w 4343329"/>
              <a:gd name="connsiteY22" fmla="*/ 2358707 h 2862353"/>
              <a:gd name="connsiteX23" fmla="*/ 2046093 w 4343329"/>
              <a:gd name="connsiteY23" fmla="*/ 2320273 h 2862353"/>
              <a:gd name="connsiteX24" fmla="*/ 2063709 w 4343329"/>
              <a:gd name="connsiteY24" fmla="*/ 2310664 h 2862353"/>
              <a:gd name="connsiteX25" fmla="*/ 2077320 w 4343329"/>
              <a:gd name="connsiteY25" fmla="*/ 2268227 h 2862353"/>
              <a:gd name="connsiteX26" fmla="*/ 2075719 w 4343329"/>
              <a:gd name="connsiteY26" fmla="*/ 2193761 h 2862353"/>
              <a:gd name="connsiteX27" fmla="*/ 2070114 w 4343329"/>
              <a:gd name="connsiteY27" fmla="*/ 2160932 h 2862353"/>
              <a:gd name="connsiteX28" fmla="*/ 2098139 w 4343329"/>
              <a:gd name="connsiteY28" fmla="*/ 2114491 h 2862353"/>
              <a:gd name="connsiteX29" fmla="*/ 2185416 w 4343329"/>
              <a:gd name="connsiteY29" fmla="*/ 2072053 h 2862353"/>
              <a:gd name="connsiteX30" fmla="*/ 2242267 w 4343329"/>
              <a:gd name="connsiteY30" fmla="*/ 2003993 h 2862353"/>
              <a:gd name="connsiteX31" fmla="*/ 2276697 w 4343329"/>
              <a:gd name="connsiteY31" fmla="*/ 1990381 h 2862353"/>
              <a:gd name="connsiteX32" fmla="*/ 2295114 w 4343329"/>
              <a:gd name="connsiteY32" fmla="*/ 1959153 h 2862353"/>
              <a:gd name="connsiteX33" fmla="*/ 1986040 w 4343329"/>
              <a:gd name="connsiteY33" fmla="*/ 1903903 h 2862353"/>
              <a:gd name="connsiteX34" fmla="*/ 1937197 w 4343329"/>
              <a:gd name="connsiteY34" fmla="*/ 2136909 h 2862353"/>
              <a:gd name="connsiteX35" fmla="*/ 1809884 w 4343329"/>
              <a:gd name="connsiteY35" fmla="*/ 2432371 h 2862353"/>
              <a:gd name="connsiteX36" fmla="*/ 1403924 w 4343329"/>
              <a:gd name="connsiteY36" fmla="*/ 2840733 h 2862353"/>
              <a:gd name="connsiteX37" fmla="*/ 1500810 w 4343329"/>
              <a:gd name="connsiteY37" fmla="*/ 2584506 h 2862353"/>
              <a:gd name="connsiteX38" fmla="*/ 1511219 w 4343329"/>
              <a:gd name="connsiteY38" fmla="*/ 2561286 h 2862353"/>
              <a:gd name="connsiteX39" fmla="*/ 1522429 w 4343329"/>
              <a:gd name="connsiteY39" fmla="*/ 2538065 h 2862353"/>
              <a:gd name="connsiteX40" fmla="*/ 1544849 w 4343329"/>
              <a:gd name="connsiteY40" fmla="*/ 2492425 h 2862353"/>
              <a:gd name="connsiteX41" fmla="*/ 1568070 w 4343329"/>
              <a:gd name="connsiteY41" fmla="*/ 2447585 h 2862353"/>
              <a:gd name="connsiteX42" fmla="*/ 1592891 w 4343329"/>
              <a:gd name="connsiteY42" fmla="*/ 2403546 h 2862353"/>
              <a:gd name="connsiteX43" fmla="*/ 1604902 w 4343329"/>
              <a:gd name="connsiteY43" fmla="*/ 2381126 h 2862353"/>
              <a:gd name="connsiteX44" fmla="*/ 1617713 w 4343329"/>
              <a:gd name="connsiteY44" fmla="*/ 2359507 h 2862353"/>
              <a:gd name="connsiteX45" fmla="*/ 1644137 w 4343329"/>
              <a:gd name="connsiteY45" fmla="*/ 2316268 h 2862353"/>
              <a:gd name="connsiteX46" fmla="*/ 1671361 w 4343329"/>
              <a:gd name="connsiteY46" fmla="*/ 2273831 h 2862353"/>
              <a:gd name="connsiteX47" fmla="*/ 1700187 w 4343329"/>
              <a:gd name="connsiteY47" fmla="*/ 2232194 h 2862353"/>
              <a:gd name="connsiteX48" fmla="*/ 1963620 w 4343329"/>
              <a:gd name="connsiteY48" fmla="*/ 1924721 h 2862353"/>
              <a:gd name="connsiteX49" fmla="*/ 1986040 w 4343329"/>
              <a:gd name="connsiteY49" fmla="*/ 1903903 h 2862353"/>
              <a:gd name="connsiteX50" fmla="*/ 1758638 w 4343329"/>
              <a:gd name="connsiteY50" fmla="*/ 1806217 h 2862353"/>
              <a:gd name="connsiteX51" fmla="*/ 1953210 w 4343329"/>
              <a:gd name="connsiteY51" fmla="*/ 1806217 h 2862353"/>
              <a:gd name="connsiteX52" fmla="*/ 1967623 w 4343329"/>
              <a:gd name="connsiteY52" fmla="*/ 1850256 h 2862353"/>
              <a:gd name="connsiteX53" fmla="*/ 1925185 w 4343329"/>
              <a:gd name="connsiteY53" fmla="*/ 1884686 h 2862353"/>
              <a:gd name="connsiteX54" fmla="*/ 1640933 w 4343329"/>
              <a:gd name="connsiteY54" fmla="*/ 2192960 h 2862353"/>
              <a:gd name="connsiteX55" fmla="*/ 1583282 w 4343329"/>
              <a:gd name="connsiteY55" fmla="*/ 2281038 h 2862353"/>
              <a:gd name="connsiteX56" fmla="*/ 1556859 w 4343329"/>
              <a:gd name="connsiteY56" fmla="*/ 2326678 h 2862353"/>
              <a:gd name="connsiteX57" fmla="*/ 1544048 w 4343329"/>
              <a:gd name="connsiteY57" fmla="*/ 2349899 h 2862353"/>
              <a:gd name="connsiteX58" fmla="*/ 1532037 w 4343329"/>
              <a:gd name="connsiteY58" fmla="*/ 2373119 h 2862353"/>
              <a:gd name="connsiteX59" fmla="*/ 1447962 w 4343329"/>
              <a:gd name="connsiteY59" fmla="*/ 2566091 h 2862353"/>
              <a:gd name="connsiteX60" fmla="*/ 1376699 w 4343329"/>
              <a:gd name="connsiteY60" fmla="*/ 2848741 h 2862353"/>
              <a:gd name="connsiteX61" fmla="*/ 1291023 w 4343329"/>
              <a:gd name="connsiteY61" fmla="*/ 2862353 h 2862353"/>
              <a:gd name="connsiteX62" fmla="*/ 1195739 w 4343329"/>
              <a:gd name="connsiteY62" fmla="*/ 2706215 h 2862353"/>
              <a:gd name="connsiteX63" fmla="*/ 1175721 w 4343329"/>
              <a:gd name="connsiteY63" fmla="*/ 2671784 h 2862353"/>
              <a:gd name="connsiteX64" fmla="*/ 1207749 w 4343329"/>
              <a:gd name="connsiteY64" fmla="*/ 2586909 h 2862353"/>
              <a:gd name="connsiteX65" fmla="*/ 1213354 w 4343329"/>
              <a:gd name="connsiteY65" fmla="*/ 2572496 h 2862353"/>
              <a:gd name="connsiteX66" fmla="*/ 1219760 w 4343329"/>
              <a:gd name="connsiteY66" fmla="*/ 2558083 h 2862353"/>
              <a:gd name="connsiteX67" fmla="*/ 1232571 w 4343329"/>
              <a:gd name="connsiteY67" fmla="*/ 2529258 h 2862353"/>
              <a:gd name="connsiteX68" fmla="*/ 1258995 w 4343329"/>
              <a:gd name="connsiteY68" fmla="*/ 2472407 h 2862353"/>
              <a:gd name="connsiteX69" fmla="*/ 1287020 w 4343329"/>
              <a:gd name="connsiteY69" fmla="*/ 2416358 h 2862353"/>
              <a:gd name="connsiteX70" fmla="*/ 1317447 w 4343329"/>
              <a:gd name="connsiteY70" fmla="*/ 2361910 h 2862353"/>
              <a:gd name="connsiteX71" fmla="*/ 1453567 w 4343329"/>
              <a:gd name="connsiteY71" fmla="*/ 2153725 h 2862353"/>
              <a:gd name="connsiteX72" fmla="*/ 1471984 w 4343329"/>
              <a:gd name="connsiteY72" fmla="*/ 2128903 h 2862353"/>
              <a:gd name="connsiteX73" fmla="*/ 1491201 w 4343329"/>
              <a:gd name="connsiteY73" fmla="*/ 2104081 h 2862353"/>
              <a:gd name="connsiteX74" fmla="*/ 1529635 w 4343329"/>
              <a:gd name="connsiteY74" fmla="*/ 2055238 h 2862353"/>
              <a:gd name="connsiteX75" fmla="*/ 1569670 w 4343329"/>
              <a:gd name="connsiteY75" fmla="*/ 2007195 h 2862353"/>
              <a:gd name="connsiteX76" fmla="*/ 1611307 w 4343329"/>
              <a:gd name="connsiteY76" fmla="*/ 1960754 h 2862353"/>
              <a:gd name="connsiteX77" fmla="*/ 1621716 w 4343329"/>
              <a:gd name="connsiteY77" fmla="*/ 1948743 h 2862353"/>
              <a:gd name="connsiteX78" fmla="*/ 1632126 w 4343329"/>
              <a:gd name="connsiteY78" fmla="*/ 1937533 h 2862353"/>
              <a:gd name="connsiteX79" fmla="*/ 1653745 w 4343329"/>
              <a:gd name="connsiteY79" fmla="*/ 1915113 h 2862353"/>
              <a:gd name="connsiteX80" fmla="*/ 1675364 w 4343329"/>
              <a:gd name="connsiteY80" fmla="*/ 1892694 h 2862353"/>
              <a:gd name="connsiteX81" fmla="*/ 1696983 w 4343329"/>
              <a:gd name="connsiteY81" fmla="*/ 1870274 h 2862353"/>
              <a:gd name="connsiteX82" fmla="*/ 1718602 w 4343329"/>
              <a:gd name="connsiteY82" fmla="*/ 1847854 h 2862353"/>
              <a:gd name="connsiteX83" fmla="*/ 1729812 w 4343329"/>
              <a:gd name="connsiteY83" fmla="*/ 1836644 h 2862353"/>
              <a:gd name="connsiteX84" fmla="*/ 1741022 w 4343329"/>
              <a:gd name="connsiteY84" fmla="*/ 1825434 h 2862353"/>
              <a:gd name="connsiteX85" fmla="*/ 1114867 w 4343329"/>
              <a:gd name="connsiteY85" fmla="*/ 1607641 h 2862353"/>
              <a:gd name="connsiteX86" fmla="*/ 1171718 w 4343329"/>
              <a:gd name="connsiteY86" fmla="*/ 1806217 h 2862353"/>
              <a:gd name="connsiteX87" fmla="*/ 1258195 w 4343329"/>
              <a:gd name="connsiteY87" fmla="*/ 1806217 h 2862353"/>
              <a:gd name="connsiteX88" fmla="*/ 1127679 w 4343329"/>
              <a:gd name="connsiteY88" fmla="*/ 2037622 h 2862353"/>
              <a:gd name="connsiteX89" fmla="*/ 1039601 w 4343329"/>
              <a:gd name="connsiteY89" fmla="*/ 2273832 h 2862353"/>
              <a:gd name="connsiteX90" fmla="*/ 1002768 w 4343329"/>
              <a:gd name="connsiteY90" fmla="*/ 2200166 h 2862353"/>
              <a:gd name="connsiteX91" fmla="*/ 1017181 w 4343329"/>
              <a:gd name="connsiteY91" fmla="*/ 1743762 h 2862353"/>
              <a:gd name="connsiteX92" fmla="*/ 1070828 w 4343329"/>
              <a:gd name="connsiteY92" fmla="*/ 1665292 h 2862353"/>
              <a:gd name="connsiteX93" fmla="*/ 1081238 w 4343329"/>
              <a:gd name="connsiteY93" fmla="*/ 1650879 h 2862353"/>
              <a:gd name="connsiteX94" fmla="*/ 1092447 w 4343329"/>
              <a:gd name="connsiteY94" fmla="*/ 1636466 h 2862353"/>
              <a:gd name="connsiteX95" fmla="*/ 1608906 w 4343329"/>
              <a:gd name="connsiteY95" fmla="*/ 1587623 h 2862353"/>
              <a:gd name="connsiteX96" fmla="*/ 1658550 w 4343329"/>
              <a:gd name="connsiteY96" fmla="*/ 1807017 h 2862353"/>
              <a:gd name="connsiteX97" fmla="*/ 1662554 w 4343329"/>
              <a:gd name="connsiteY97" fmla="*/ 1807017 h 2862353"/>
              <a:gd name="connsiteX98" fmla="*/ 1647340 w 4343329"/>
              <a:gd name="connsiteY98" fmla="*/ 1822231 h 2862353"/>
              <a:gd name="connsiteX99" fmla="*/ 1624920 w 4343329"/>
              <a:gd name="connsiteY99" fmla="*/ 1844651 h 2862353"/>
              <a:gd name="connsiteX100" fmla="*/ 1602500 w 4343329"/>
              <a:gd name="connsiteY100" fmla="*/ 1867871 h 2862353"/>
              <a:gd name="connsiteX101" fmla="*/ 1580080 w 4343329"/>
              <a:gd name="connsiteY101" fmla="*/ 1891092 h 2862353"/>
              <a:gd name="connsiteX102" fmla="*/ 1568870 w 4343329"/>
              <a:gd name="connsiteY102" fmla="*/ 1903103 h 2862353"/>
              <a:gd name="connsiteX103" fmla="*/ 1558461 w 4343329"/>
              <a:gd name="connsiteY103" fmla="*/ 1915113 h 2862353"/>
              <a:gd name="connsiteX104" fmla="*/ 1399120 w 4343329"/>
              <a:gd name="connsiteY104" fmla="*/ 2116091 h 2862353"/>
              <a:gd name="connsiteX105" fmla="*/ 1363088 w 4343329"/>
              <a:gd name="connsiteY105" fmla="*/ 2169739 h 2862353"/>
              <a:gd name="connsiteX106" fmla="*/ 1329458 w 4343329"/>
              <a:gd name="connsiteY106" fmla="*/ 2224187 h 2862353"/>
              <a:gd name="connsiteX107" fmla="*/ 1321451 w 4343329"/>
              <a:gd name="connsiteY107" fmla="*/ 2237799 h 2862353"/>
              <a:gd name="connsiteX108" fmla="*/ 1313444 w 4343329"/>
              <a:gd name="connsiteY108" fmla="*/ 2252212 h 2862353"/>
              <a:gd name="connsiteX109" fmla="*/ 1298231 w 4343329"/>
              <a:gd name="connsiteY109" fmla="*/ 2280237 h 2862353"/>
              <a:gd name="connsiteX110" fmla="*/ 1283017 w 4343329"/>
              <a:gd name="connsiteY110" fmla="*/ 2308262 h 2862353"/>
              <a:gd name="connsiteX111" fmla="*/ 1275811 w 4343329"/>
              <a:gd name="connsiteY111" fmla="*/ 2322675 h 2862353"/>
              <a:gd name="connsiteX112" fmla="*/ 1268604 w 4343329"/>
              <a:gd name="connsiteY112" fmla="*/ 2337087 h 2862353"/>
              <a:gd name="connsiteX113" fmla="*/ 1241380 w 4343329"/>
              <a:gd name="connsiteY113" fmla="*/ 2394739 h 2862353"/>
              <a:gd name="connsiteX114" fmla="*/ 1217359 w 4343329"/>
              <a:gd name="connsiteY114" fmla="*/ 2453991 h 2862353"/>
              <a:gd name="connsiteX115" fmla="*/ 1195740 w 4343329"/>
              <a:gd name="connsiteY115" fmla="*/ 2514044 h 2862353"/>
              <a:gd name="connsiteX116" fmla="*/ 1185330 w 4343329"/>
              <a:gd name="connsiteY116" fmla="*/ 2544471 h 2862353"/>
              <a:gd name="connsiteX117" fmla="*/ 1180526 w 4343329"/>
              <a:gd name="connsiteY117" fmla="*/ 2559685 h 2862353"/>
              <a:gd name="connsiteX118" fmla="*/ 1176523 w 4343329"/>
              <a:gd name="connsiteY118" fmla="*/ 2574898 h 2862353"/>
              <a:gd name="connsiteX119" fmla="*/ 1158907 w 4343329"/>
              <a:gd name="connsiteY119" fmla="*/ 2637354 h 2862353"/>
              <a:gd name="connsiteX120" fmla="*/ 1059619 w 4343329"/>
              <a:gd name="connsiteY120" fmla="*/ 2328279 h 2862353"/>
              <a:gd name="connsiteX121" fmla="*/ 1175722 w 4343329"/>
              <a:gd name="connsiteY121" fmla="*/ 2062444 h 2862353"/>
              <a:gd name="connsiteX122" fmla="*/ 1339067 w 4343329"/>
              <a:gd name="connsiteY122" fmla="*/ 1807017 h 2862353"/>
              <a:gd name="connsiteX123" fmla="*/ 1559262 w 4343329"/>
              <a:gd name="connsiteY123" fmla="*/ 1807017 h 2862353"/>
              <a:gd name="connsiteX124" fmla="*/ 2685059 w 4343329"/>
              <a:gd name="connsiteY124" fmla="*/ 878194 h 2862353"/>
              <a:gd name="connsiteX125" fmla="*/ 2950895 w 4343329"/>
              <a:gd name="connsiteY125" fmla="*/ 878194 h 2862353"/>
              <a:gd name="connsiteX126" fmla="*/ 3247157 w 4343329"/>
              <a:gd name="connsiteY126" fmla="*/ 1281752 h 2862353"/>
              <a:gd name="connsiteX127" fmla="*/ 3247157 w 4343329"/>
              <a:gd name="connsiteY127" fmla="*/ 878194 h 2862353"/>
              <a:gd name="connsiteX128" fmla="*/ 3505787 w 4343329"/>
              <a:gd name="connsiteY128" fmla="*/ 878194 h 2862353"/>
              <a:gd name="connsiteX129" fmla="*/ 3505787 w 4343329"/>
              <a:gd name="connsiteY129" fmla="*/ 1730950 h 2862353"/>
              <a:gd name="connsiteX130" fmla="*/ 3257567 w 4343329"/>
              <a:gd name="connsiteY130" fmla="*/ 1730950 h 2862353"/>
              <a:gd name="connsiteX131" fmla="*/ 2942888 w 4343329"/>
              <a:gd name="connsiteY131" fmla="*/ 1298567 h 2862353"/>
              <a:gd name="connsiteX132" fmla="*/ 2942888 w 4343329"/>
              <a:gd name="connsiteY132" fmla="*/ 1730950 h 2862353"/>
              <a:gd name="connsiteX133" fmla="*/ 2685059 w 4343329"/>
              <a:gd name="connsiteY133" fmla="*/ 1730950 h 2862353"/>
              <a:gd name="connsiteX134" fmla="*/ 2288708 w 4343329"/>
              <a:gd name="connsiteY134" fmla="*/ 878194 h 2862353"/>
              <a:gd name="connsiteX135" fmla="*/ 2547337 w 4343329"/>
              <a:gd name="connsiteY135" fmla="*/ 878194 h 2862353"/>
              <a:gd name="connsiteX136" fmla="*/ 2547337 w 4343329"/>
              <a:gd name="connsiteY136" fmla="*/ 1730950 h 2862353"/>
              <a:gd name="connsiteX137" fmla="*/ 2288708 w 4343329"/>
              <a:gd name="connsiteY137" fmla="*/ 1730950 h 2862353"/>
              <a:gd name="connsiteX138" fmla="*/ 984352 w 4343329"/>
              <a:gd name="connsiteY138" fmla="*/ 878194 h 2862353"/>
              <a:gd name="connsiteX139" fmla="*/ 1273408 w 4343329"/>
              <a:gd name="connsiteY139" fmla="*/ 878194 h 2862353"/>
              <a:gd name="connsiteX140" fmla="*/ 1383105 w 4343329"/>
              <a:gd name="connsiteY140" fmla="*/ 1399456 h 2862353"/>
              <a:gd name="connsiteX141" fmla="*/ 1512820 w 4343329"/>
              <a:gd name="connsiteY141" fmla="*/ 878194 h 2862353"/>
              <a:gd name="connsiteX142" fmla="*/ 1706592 w 4343329"/>
              <a:gd name="connsiteY142" fmla="*/ 878194 h 2862353"/>
              <a:gd name="connsiteX143" fmla="*/ 1835506 w 4343329"/>
              <a:gd name="connsiteY143" fmla="*/ 1399456 h 2862353"/>
              <a:gd name="connsiteX144" fmla="*/ 1944403 w 4343329"/>
              <a:gd name="connsiteY144" fmla="*/ 878194 h 2862353"/>
              <a:gd name="connsiteX145" fmla="*/ 2235061 w 4343329"/>
              <a:gd name="connsiteY145" fmla="*/ 878194 h 2862353"/>
              <a:gd name="connsiteX146" fmla="*/ 1990844 w 4343329"/>
              <a:gd name="connsiteY146" fmla="*/ 1730950 h 2862353"/>
              <a:gd name="connsiteX147" fmla="*/ 1719404 w 4343329"/>
              <a:gd name="connsiteY147" fmla="*/ 1730950 h 2862353"/>
              <a:gd name="connsiteX148" fmla="*/ 1609706 w 4343329"/>
              <a:gd name="connsiteY148" fmla="*/ 1247321 h 2862353"/>
              <a:gd name="connsiteX149" fmla="*/ 1500009 w 4343329"/>
              <a:gd name="connsiteY149" fmla="*/ 1730950 h 2862353"/>
              <a:gd name="connsiteX150" fmla="*/ 1228568 w 4343329"/>
              <a:gd name="connsiteY150" fmla="*/ 1730950 h 2862353"/>
              <a:gd name="connsiteX151" fmla="*/ 3960590 w 4343329"/>
              <a:gd name="connsiteY151" fmla="*/ 866183 h 2862353"/>
              <a:gd name="connsiteX152" fmla="*/ 4322510 w 4343329"/>
              <a:gd name="connsiteY152" fmla="*/ 984688 h 2862353"/>
              <a:gd name="connsiteX153" fmla="*/ 4184788 w 4343329"/>
              <a:gd name="connsiteY153" fmla="*/ 1167250 h 2862353"/>
              <a:gd name="connsiteX154" fmla="*/ 3934166 w 4343329"/>
              <a:gd name="connsiteY154" fmla="*/ 1083175 h 2862353"/>
              <a:gd name="connsiteX155" fmla="*/ 3869309 w 4343329"/>
              <a:gd name="connsiteY155" fmla="*/ 1121610 h 2862353"/>
              <a:gd name="connsiteX156" fmla="*/ 3904540 w 4343329"/>
              <a:gd name="connsiteY156" fmla="*/ 1152036 h 2862353"/>
              <a:gd name="connsiteX157" fmla="*/ 3991817 w 4343329"/>
              <a:gd name="connsiteY157" fmla="*/ 1172054 h 2862353"/>
              <a:gd name="connsiteX158" fmla="*/ 4106319 w 4343329"/>
              <a:gd name="connsiteY158" fmla="*/ 1197677 h 2862353"/>
              <a:gd name="connsiteX159" fmla="*/ 4220820 w 4343329"/>
              <a:gd name="connsiteY159" fmla="*/ 1241716 h 2862353"/>
              <a:gd name="connsiteX160" fmla="*/ 4308098 w 4343329"/>
              <a:gd name="connsiteY160" fmla="*/ 1321787 h 2862353"/>
              <a:gd name="connsiteX161" fmla="*/ 4343329 w 4343329"/>
              <a:gd name="connsiteY161" fmla="*/ 1449901 h 2862353"/>
              <a:gd name="connsiteX162" fmla="*/ 4245642 w 4343329"/>
              <a:gd name="connsiteY162" fmla="*/ 1668494 h 2862353"/>
              <a:gd name="connsiteX163" fmla="*/ 3975002 w 4343329"/>
              <a:gd name="connsiteY163" fmla="*/ 1746964 h 2862353"/>
              <a:gd name="connsiteX164" fmla="*/ 3578651 w 4343329"/>
              <a:gd name="connsiteY164" fmla="*/ 1611644 h 2862353"/>
              <a:gd name="connsiteX165" fmla="*/ 3713170 w 4343329"/>
              <a:gd name="connsiteY165" fmla="*/ 1419474 h 2862353"/>
              <a:gd name="connsiteX166" fmla="*/ 3987814 w 4343329"/>
              <a:gd name="connsiteY166" fmla="*/ 1529171 h 2862353"/>
              <a:gd name="connsiteX167" fmla="*/ 4082297 w 4343329"/>
              <a:gd name="connsiteY167" fmla="*/ 1483530 h 2862353"/>
              <a:gd name="connsiteX168" fmla="*/ 4033454 w 4343329"/>
              <a:gd name="connsiteY168" fmla="*/ 1449901 h 2862353"/>
              <a:gd name="connsiteX169" fmla="*/ 3914148 w 4343329"/>
              <a:gd name="connsiteY169" fmla="*/ 1425879 h 2862353"/>
              <a:gd name="connsiteX170" fmla="*/ 3774825 w 4343329"/>
              <a:gd name="connsiteY170" fmla="*/ 1389047 h 2862353"/>
              <a:gd name="connsiteX171" fmla="*/ 3655519 w 4343329"/>
              <a:gd name="connsiteY171" fmla="*/ 1303371 h 2862353"/>
              <a:gd name="connsiteX172" fmla="*/ 3606676 w 4343329"/>
              <a:gd name="connsiteY172" fmla="*/ 1148834 h 2862353"/>
              <a:gd name="connsiteX173" fmla="*/ 3700359 w 4343329"/>
              <a:gd name="connsiteY173" fmla="*/ 949457 h 2862353"/>
              <a:gd name="connsiteX174" fmla="*/ 3960590 w 4343329"/>
              <a:gd name="connsiteY174" fmla="*/ 866183 h 2862353"/>
              <a:gd name="connsiteX175" fmla="*/ 29906 w 4343329"/>
              <a:gd name="connsiteY175" fmla="*/ 837358 h 2862353"/>
              <a:gd name="connsiteX176" fmla="*/ 65938 w 4343329"/>
              <a:gd name="connsiteY176" fmla="*/ 867785 h 2862353"/>
              <a:gd name="connsiteX177" fmla="*/ 193251 w 4343329"/>
              <a:gd name="connsiteY177" fmla="*/ 956664 h 2862353"/>
              <a:gd name="connsiteX178" fmla="*/ 331774 w 4343329"/>
              <a:gd name="connsiteY178" fmla="*/ 1028728 h 2862353"/>
              <a:gd name="connsiteX179" fmla="*/ 479104 w 4343329"/>
              <a:gd name="connsiteY179" fmla="*/ 1083176 h 2862353"/>
              <a:gd name="connsiteX180" fmla="*/ 555172 w 4343329"/>
              <a:gd name="connsiteY180" fmla="*/ 1103194 h 2862353"/>
              <a:gd name="connsiteX181" fmla="*/ 593606 w 4343329"/>
              <a:gd name="connsiteY181" fmla="*/ 1111201 h 2862353"/>
              <a:gd name="connsiteX182" fmla="*/ 612823 w 4343329"/>
              <a:gd name="connsiteY182" fmla="*/ 1115204 h 2862353"/>
              <a:gd name="connsiteX183" fmla="*/ 632040 w 4343329"/>
              <a:gd name="connsiteY183" fmla="*/ 1118407 h 2862353"/>
              <a:gd name="connsiteX184" fmla="*/ 788979 w 4343329"/>
              <a:gd name="connsiteY184" fmla="*/ 1132019 h 2862353"/>
              <a:gd name="connsiteX185" fmla="*/ 828214 w 4343329"/>
              <a:gd name="connsiteY185" fmla="*/ 1132019 h 2862353"/>
              <a:gd name="connsiteX186" fmla="*/ 848232 w 4343329"/>
              <a:gd name="connsiteY186" fmla="*/ 1132019 h 2862353"/>
              <a:gd name="connsiteX187" fmla="*/ 868249 w 4343329"/>
              <a:gd name="connsiteY187" fmla="*/ 1131219 h 2862353"/>
              <a:gd name="connsiteX188" fmla="*/ 907484 w 4343329"/>
              <a:gd name="connsiteY188" fmla="*/ 1128816 h 2862353"/>
              <a:gd name="connsiteX189" fmla="*/ 946719 w 4343329"/>
              <a:gd name="connsiteY189" fmla="*/ 1124813 h 2862353"/>
              <a:gd name="connsiteX190" fmla="*/ 976345 w 4343329"/>
              <a:gd name="connsiteY190" fmla="*/ 1121610 h 2862353"/>
              <a:gd name="connsiteX191" fmla="*/ 1092448 w 4343329"/>
              <a:gd name="connsiteY191" fmla="*/ 1528371 h 2862353"/>
              <a:gd name="connsiteX192" fmla="*/ 1062021 w 4343329"/>
              <a:gd name="connsiteY192" fmla="*/ 1565203 h 2862353"/>
              <a:gd name="connsiteX193" fmla="*/ 1038800 w 4343329"/>
              <a:gd name="connsiteY193" fmla="*/ 1595630 h 2862353"/>
              <a:gd name="connsiteX194" fmla="*/ 1027591 w 4343329"/>
              <a:gd name="connsiteY194" fmla="*/ 1610844 h 2862353"/>
              <a:gd name="connsiteX195" fmla="*/ 1016381 w 4343329"/>
              <a:gd name="connsiteY195" fmla="*/ 1626858 h 2862353"/>
              <a:gd name="connsiteX196" fmla="*/ 988356 w 4343329"/>
              <a:gd name="connsiteY196" fmla="*/ 1668495 h 2862353"/>
              <a:gd name="connsiteX197" fmla="*/ 908285 w 4343329"/>
              <a:gd name="connsiteY197" fmla="*/ 1498744 h 2862353"/>
              <a:gd name="connsiteX198" fmla="*/ 744139 w 4343329"/>
              <a:gd name="connsiteY198" fmla="*/ 1247321 h 2862353"/>
              <a:gd name="connsiteX199" fmla="*/ 479104 w 4343329"/>
              <a:gd name="connsiteY199" fmla="*/ 1295364 h 2862353"/>
              <a:gd name="connsiteX200" fmla="*/ 291738 w 4343329"/>
              <a:gd name="connsiteY200" fmla="*/ 1298567 h 2862353"/>
              <a:gd name="connsiteX201" fmla="*/ 13091 w 4343329"/>
              <a:gd name="connsiteY201" fmla="*/ 872589 h 2862353"/>
              <a:gd name="connsiteX202" fmla="*/ 29906 w 4343329"/>
              <a:gd name="connsiteY202" fmla="*/ 837358 h 2862353"/>
              <a:gd name="connsiteX203" fmla="*/ 1990844 w 4343329"/>
              <a:gd name="connsiteY203" fmla="*/ 697234 h 2862353"/>
              <a:gd name="connsiteX204" fmla="*/ 2038086 w 4343329"/>
              <a:gd name="connsiteY204" fmla="*/ 728462 h 2862353"/>
              <a:gd name="connsiteX205" fmla="*/ 2050097 w 4343329"/>
              <a:gd name="connsiteY205" fmla="*/ 736469 h 2862353"/>
              <a:gd name="connsiteX206" fmla="*/ 2042890 w 4343329"/>
              <a:gd name="connsiteY206" fmla="*/ 736469 h 2862353"/>
              <a:gd name="connsiteX207" fmla="*/ 1996449 w 4343329"/>
              <a:gd name="connsiteY207" fmla="*/ 730063 h 2862353"/>
              <a:gd name="connsiteX208" fmla="*/ 1990844 w 4343329"/>
              <a:gd name="connsiteY208" fmla="*/ 697234 h 2862353"/>
              <a:gd name="connsiteX209" fmla="*/ 1998851 w 4343329"/>
              <a:gd name="connsiteY209" fmla="*/ 662803 h 2862353"/>
              <a:gd name="connsiteX210" fmla="*/ 2047694 w 4343329"/>
              <a:gd name="connsiteY210" fmla="*/ 694831 h 2862353"/>
              <a:gd name="connsiteX211" fmla="*/ 2093335 w 4343329"/>
              <a:gd name="connsiteY211" fmla="*/ 725258 h 2862353"/>
              <a:gd name="connsiteX212" fmla="*/ 2089331 w 4343329"/>
              <a:gd name="connsiteY212" fmla="*/ 730063 h 2862353"/>
              <a:gd name="connsiteX213" fmla="*/ 2056502 w 4343329"/>
              <a:gd name="connsiteY213" fmla="*/ 736468 h 2862353"/>
              <a:gd name="connsiteX214" fmla="*/ 1993246 w 4343329"/>
              <a:gd name="connsiteY214" fmla="*/ 690027 h 2862353"/>
              <a:gd name="connsiteX215" fmla="*/ 1998851 w 4343329"/>
              <a:gd name="connsiteY215" fmla="*/ 662803 h 2862353"/>
              <a:gd name="connsiteX216" fmla="*/ 1996449 w 4343329"/>
              <a:gd name="connsiteY216" fmla="*/ 620366 h 2862353"/>
              <a:gd name="connsiteX217" fmla="*/ 2048495 w 4343329"/>
              <a:gd name="connsiteY217" fmla="*/ 653996 h 2862353"/>
              <a:gd name="connsiteX218" fmla="*/ 2090933 w 4343329"/>
              <a:gd name="connsiteY218" fmla="*/ 682821 h 2862353"/>
              <a:gd name="connsiteX219" fmla="*/ 2093335 w 4343329"/>
              <a:gd name="connsiteY219" fmla="*/ 691629 h 2862353"/>
              <a:gd name="connsiteX220" fmla="*/ 2094936 w 4343329"/>
              <a:gd name="connsiteY220" fmla="*/ 721255 h 2862353"/>
              <a:gd name="connsiteX221" fmla="*/ 1998851 w 4343329"/>
              <a:gd name="connsiteY221" fmla="*/ 653195 h 2862353"/>
              <a:gd name="connsiteX222" fmla="*/ 1998851 w 4343329"/>
              <a:gd name="connsiteY222" fmla="*/ 651594 h 2862353"/>
              <a:gd name="connsiteX223" fmla="*/ 1996449 w 4343329"/>
              <a:gd name="connsiteY223" fmla="*/ 620366 h 2862353"/>
              <a:gd name="connsiteX224" fmla="*/ 1990043 w 4343329"/>
              <a:gd name="connsiteY224" fmla="*/ 572323 h 2862353"/>
              <a:gd name="connsiteX225" fmla="*/ 2072516 w 4343329"/>
              <a:gd name="connsiteY225" fmla="*/ 626771 h 2862353"/>
              <a:gd name="connsiteX226" fmla="*/ 2088530 w 4343329"/>
              <a:gd name="connsiteY226" fmla="*/ 637180 h 2862353"/>
              <a:gd name="connsiteX227" fmla="*/ 2087730 w 4343329"/>
              <a:gd name="connsiteY227" fmla="*/ 651593 h 2862353"/>
              <a:gd name="connsiteX228" fmla="*/ 2090132 w 4343329"/>
              <a:gd name="connsiteY228" fmla="*/ 676415 h 2862353"/>
              <a:gd name="connsiteX229" fmla="*/ 1995648 w 4343329"/>
              <a:gd name="connsiteY229" fmla="*/ 609156 h 2862353"/>
              <a:gd name="connsiteX230" fmla="*/ 1990844 w 4343329"/>
              <a:gd name="connsiteY230" fmla="*/ 577127 h 2862353"/>
              <a:gd name="connsiteX231" fmla="*/ 1990043 w 4343329"/>
              <a:gd name="connsiteY231" fmla="*/ 572323 h 2862353"/>
              <a:gd name="connsiteX232" fmla="*/ 1990844 w 4343329"/>
              <a:gd name="connsiteY232" fmla="*/ 537092 h 2862353"/>
              <a:gd name="connsiteX233" fmla="*/ 2062107 w 4343329"/>
              <a:gd name="connsiteY233" fmla="*/ 584334 h 2862353"/>
              <a:gd name="connsiteX234" fmla="*/ 2091733 w 4343329"/>
              <a:gd name="connsiteY234" fmla="*/ 604352 h 2862353"/>
              <a:gd name="connsiteX235" fmla="*/ 2088530 w 4343329"/>
              <a:gd name="connsiteY235" fmla="*/ 633177 h 2862353"/>
              <a:gd name="connsiteX236" fmla="*/ 1990844 w 4343329"/>
              <a:gd name="connsiteY236" fmla="*/ 556309 h 2862353"/>
              <a:gd name="connsiteX237" fmla="*/ 1990844 w 4343329"/>
              <a:gd name="connsiteY237" fmla="*/ 537092 h 2862353"/>
              <a:gd name="connsiteX238" fmla="*/ 73944 w 4343329"/>
              <a:gd name="connsiteY238" fmla="*/ 505864 h 2862353"/>
              <a:gd name="connsiteX239" fmla="*/ 136400 w 4343329"/>
              <a:gd name="connsiteY239" fmla="*/ 560312 h 2862353"/>
              <a:gd name="connsiteX240" fmla="*/ 257307 w 4343329"/>
              <a:gd name="connsiteY240" fmla="*/ 645187 h 2862353"/>
              <a:gd name="connsiteX241" fmla="*/ 527146 w 4343329"/>
              <a:gd name="connsiteY241" fmla="*/ 770899 h 2862353"/>
              <a:gd name="connsiteX242" fmla="*/ 563178 w 4343329"/>
              <a:gd name="connsiteY242" fmla="*/ 781308 h 2862353"/>
              <a:gd name="connsiteX243" fmla="*/ 580794 w 4343329"/>
              <a:gd name="connsiteY243" fmla="*/ 786913 h 2862353"/>
              <a:gd name="connsiteX244" fmla="*/ 599210 w 4343329"/>
              <a:gd name="connsiteY244" fmla="*/ 791717 h 2862353"/>
              <a:gd name="connsiteX245" fmla="*/ 636043 w 4343329"/>
              <a:gd name="connsiteY245" fmla="*/ 800525 h 2862353"/>
              <a:gd name="connsiteX246" fmla="*/ 672875 w 4343329"/>
              <a:gd name="connsiteY246" fmla="*/ 807732 h 2862353"/>
              <a:gd name="connsiteX247" fmla="*/ 691292 w 4343329"/>
              <a:gd name="connsiteY247" fmla="*/ 810934 h 2862353"/>
              <a:gd name="connsiteX248" fmla="*/ 709708 w 4343329"/>
              <a:gd name="connsiteY248" fmla="*/ 814137 h 2862353"/>
              <a:gd name="connsiteX249" fmla="*/ 746541 w 4343329"/>
              <a:gd name="connsiteY249" fmla="*/ 819742 h 2862353"/>
              <a:gd name="connsiteX250" fmla="*/ 784174 w 4343329"/>
              <a:gd name="connsiteY250" fmla="*/ 823746 h 2862353"/>
              <a:gd name="connsiteX251" fmla="*/ 802590 w 4343329"/>
              <a:gd name="connsiteY251" fmla="*/ 825347 h 2862353"/>
              <a:gd name="connsiteX252" fmla="*/ 821007 w 4343329"/>
              <a:gd name="connsiteY252" fmla="*/ 826148 h 2862353"/>
              <a:gd name="connsiteX253" fmla="*/ 891469 w 4343329"/>
              <a:gd name="connsiteY253" fmla="*/ 827749 h 2862353"/>
              <a:gd name="connsiteX254" fmla="*/ 956327 w 4343329"/>
              <a:gd name="connsiteY254" fmla="*/ 1054350 h 2862353"/>
              <a:gd name="connsiteX255" fmla="*/ 937910 w 4343329"/>
              <a:gd name="connsiteY255" fmla="*/ 1056752 h 2862353"/>
              <a:gd name="connsiteX256" fmla="*/ 901078 w 4343329"/>
              <a:gd name="connsiteY256" fmla="*/ 1061557 h 2862353"/>
              <a:gd name="connsiteX257" fmla="*/ 864245 w 4343329"/>
              <a:gd name="connsiteY257" fmla="*/ 1063959 h 2862353"/>
              <a:gd name="connsiteX258" fmla="*/ 845829 w 4343329"/>
              <a:gd name="connsiteY258" fmla="*/ 1065560 h 2862353"/>
              <a:gd name="connsiteX259" fmla="*/ 827412 w 4343329"/>
              <a:gd name="connsiteY259" fmla="*/ 1066361 h 2862353"/>
              <a:gd name="connsiteX260" fmla="*/ 789779 w 4343329"/>
              <a:gd name="connsiteY260" fmla="*/ 1067162 h 2862353"/>
              <a:gd name="connsiteX261" fmla="*/ 640847 w 4343329"/>
              <a:gd name="connsiteY261" fmla="*/ 1058354 h 2862353"/>
              <a:gd name="connsiteX262" fmla="*/ 622431 w 4343329"/>
              <a:gd name="connsiteY262" fmla="*/ 1055952 h 2862353"/>
              <a:gd name="connsiteX263" fmla="*/ 604014 w 4343329"/>
              <a:gd name="connsiteY263" fmla="*/ 1052749 h 2862353"/>
              <a:gd name="connsiteX264" fmla="*/ 567182 w 4343329"/>
              <a:gd name="connsiteY264" fmla="*/ 1047144 h 2862353"/>
              <a:gd name="connsiteX265" fmla="*/ 493516 w 4343329"/>
              <a:gd name="connsiteY265" fmla="*/ 1031130 h 2862353"/>
              <a:gd name="connsiteX266" fmla="*/ 420652 w 4343329"/>
              <a:gd name="connsiteY266" fmla="*/ 1011913 h 2862353"/>
              <a:gd name="connsiteX267" fmla="*/ 384620 w 4343329"/>
              <a:gd name="connsiteY267" fmla="*/ 1000703 h 2862353"/>
              <a:gd name="connsiteX268" fmla="*/ 349389 w 4343329"/>
              <a:gd name="connsiteY268" fmla="*/ 987891 h 2862353"/>
              <a:gd name="connsiteX269" fmla="*/ 210065 w 4343329"/>
              <a:gd name="connsiteY269" fmla="*/ 928639 h 2862353"/>
              <a:gd name="connsiteX270" fmla="*/ 77147 w 4343329"/>
              <a:gd name="connsiteY270" fmla="*/ 854173 h 2862353"/>
              <a:gd name="connsiteX271" fmla="*/ 45119 w 4343329"/>
              <a:gd name="connsiteY271" fmla="*/ 833354 h 2862353"/>
              <a:gd name="connsiteX272" fmla="*/ 32308 w 4343329"/>
              <a:gd name="connsiteY272" fmla="*/ 824547 h 2862353"/>
              <a:gd name="connsiteX273" fmla="*/ 18695 w 4343329"/>
              <a:gd name="connsiteY273" fmla="*/ 610757 h 2862353"/>
              <a:gd name="connsiteX274" fmla="*/ 73944 w 4343329"/>
              <a:gd name="connsiteY274" fmla="*/ 505864 h 2862353"/>
              <a:gd name="connsiteX275" fmla="*/ 1996449 w 4343329"/>
              <a:gd name="connsiteY275" fmla="*/ 501861 h 2862353"/>
              <a:gd name="connsiteX276" fmla="*/ 2072517 w 4343329"/>
              <a:gd name="connsiteY276" fmla="*/ 551505 h 2862353"/>
              <a:gd name="connsiteX277" fmla="*/ 2094937 w 4343329"/>
              <a:gd name="connsiteY277" fmla="*/ 566719 h 2862353"/>
              <a:gd name="connsiteX278" fmla="*/ 2095737 w 4343329"/>
              <a:gd name="connsiteY278" fmla="*/ 566719 h 2862353"/>
              <a:gd name="connsiteX279" fmla="*/ 2095737 w 4343329"/>
              <a:gd name="connsiteY279" fmla="*/ 577128 h 2862353"/>
              <a:gd name="connsiteX280" fmla="*/ 2092534 w 4343329"/>
              <a:gd name="connsiteY280" fmla="*/ 600348 h 2862353"/>
              <a:gd name="connsiteX281" fmla="*/ 1991645 w 4343329"/>
              <a:gd name="connsiteY281" fmla="*/ 525082 h 2862353"/>
              <a:gd name="connsiteX282" fmla="*/ 1996449 w 4343329"/>
              <a:gd name="connsiteY282" fmla="*/ 501861 h 2862353"/>
              <a:gd name="connsiteX283" fmla="*/ 2639419 w 4343329"/>
              <a:gd name="connsiteY283" fmla="*/ 483444 h 2862353"/>
              <a:gd name="connsiteX284" fmla="*/ 2596982 w 4343329"/>
              <a:gd name="connsiteY284" fmla="*/ 608355 h 2862353"/>
              <a:gd name="connsiteX285" fmla="*/ 2681857 w 4343329"/>
              <a:gd name="connsiteY285" fmla="*/ 608355 h 2862353"/>
              <a:gd name="connsiteX286" fmla="*/ 1178123 w 4343329"/>
              <a:gd name="connsiteY286" fmla="*/ 483444 h 2862353"/>
              <a:gd name="connsiteX287" fmla="*/ 1135686 w 4343329"/>
              <a:gd name="connsiteY287" fmla="*/ 608355 h 2862353"/>
              <a:gd name="connsiteX288" fmla="*/ 1220561 w 4343329"/>
              <a:gd name="connsiteY288" fmla="*/ 608355 h 2862353"/>
              <a:gd name="connsiteX289" fmla="*/ 1755435 w 4343329"/>
              <a:gd name="connsiteY289" fmla="*/ 473836 h 2862353"/>
              <a:gd name="connsiteX290" fmla="*/ 1755435 w 4343329"/>
              <a:gd name="connsiteY290" fmla="*/ 545099 h 2862353"/>
              <a:gd name="connsiteX291" fmla="*/ 1823495 w 4343329"/>
              <a:gd name="connsiteY291" fmla="*/ 545099 h 2862353"/>
              <a:gd name="connsiteX292" fmla="*/ 1853121 w 4343329"/>
              <a:gd name="connsiteY292" fmla="*/ 535490 h 2862353"/>
              <a:gd name="connsiteX293" fmla="*/ 1865132 w 4343329"/>
              <a:gd name="connsiteY293" fmla="*/ 509067 h 2862353"/>
              <a:gd name="connsiteX294" fmla="*/ 1853121 w 4343329"/>
              <a:gd name="connsiteY294" fmla="*/ 483444 h 2862353"/>
              <a:gd name="connsiteX295" fmla="*/ 1823495 w 4343329"/>
              <a:gd name="connsiteY295" fmla="*/ 473836 h 2862353"/>
              <a:gd name="connsiteX296" fmla="*/ 2002054 w 4343329"/>
              <a:gd name="connsiteY296" fmla="*/ 464227 h 2862353"/>
              <a:gd name="connsiteX297" fmla="*/ 2071716 w 4343329"/>
              <a:gd name="connsiteY297" fmla="*/ 509867 h 2862353"/>
              <a:gd name="connsiteX298" fmla="*/ 2094936 w 4343329"/>
              <a:gd name="connsiteY298" fmla="*/ 525081 h 2862353"/>
              <a:gd name="connsiteX299" fmla="*/ 2095737 w 4343329"/>
              <a:gd name="connsiteY299" fmla="*/ 562714 h 2862353"/>
              <a:gd name="connsiteX300" fmla="*/ 1995648 w 4343329"/>
              <a:gd name="connsiteY300" fmla="*/ 486647 h 2862353"/>
              <a:gd name="connsiteX301" fmla="*/ 2002054 w 4343329"/>
              <a:gd name="connsiteY301" fmla="*/ 464227 h 2862353"/>
              <a:gd name="connsiteX302" fmla="*/ 2013263 w 4343329"/>
              <a:gd name="connsiteY302" fmla="*/ 432199 h 2862353"/>
              <a:gd name="connsiteX303" fmla="*/ 2082925 w 4343329"/>
              <a:gd name="connsiteY303" fmla="*/ 477839 h 2862353"/>
              <a:gd name="connsiteX304" fmla="*/ 2089331 w 4343329"/>
              <a:gd name="connsiteY304" fmla="*/ 481843 h 2862353"/>
              <a:gd name="connsiteX305" fmla="*/ 2091733 w 4343329"/>
              <a:gd name="connsiteY305" fmla="*/ 490651 h 2862353"/>
              <a:gd name="connsiteX306" fmla="*/ 2090132 w 4343329"/>
              <a:gd name="connsiteY306" fmla="*/ 501861 h 2862353"/>
              <a:gd name="connsiteX307" fmla="*/ 2094936 w 4343329"/>
              <a:gd name="connsiteY307" fmla="*/ 521878 h 2862353"/>
              <a:gd name="connsiteX308" fmla="*/ 2006057 w 4343329"/>
              <a:gd name="connsiteY308" fmla="*/ 455420 h 2862353"/>
              <a:gd name="connsiteX309" fmla="*/ 2010861 w 4343329"/>
              <a:gd name="connsiteY309" fmla="*/ 441007 h 2862353"/>
              <a:gd name="connsiteX310" fmla="*/ 2013263 w 4343329"/>
              <a:gd name="connsiteY310" fmla="*/ 432199 h 2862353"/>
              <a:gd name="connsiteX311" fmla="*/ 2018869 w 4343329"/>
              <a:gd name="connsiteY311" fmla="*/ 402573 h 2862353"/>
              <a:gd name="connsiteX312" fmla="*/ 2071716 w 4343329"/>
              <a:gd name="connsiteY312" fmla="*/ 437004 h 2862353"/>
              <a:gd name="connsiteX313" fmla="*/ 2075719 w 4343329"/>
              <a:gd name="connsiteY313" fmla="*/ 440206 h 2862353"/>
              <a:gd name="connsiteX314" fmla="*/ 2086929 w 4343329"/>
              <a:gd name="connsiteY314" fmla="*/ 475438 h 2862353"/>
              <a:gd name="connsiteX315" fmla="*/ 2015666 w 4343329"/>
              <a:gd name="connsiteY315" fmla="*/ 420989 h 2862353"/>
              <a:gd name="connsiteX316" fmla="*/ 2018869 w 4343329"/>
              <a:gd name="connsiteY316" fmla="*/ 404975 h 2862353"/>
              <a:gd name="connsiteX317" fmla="*/ 2018869 w 4343329"/>
              <a:gd name="connsiteY317" fmla="*/ 402573 h 2862353"/>
              <a:gd name="connsiteX318" fmla="*/ 2585772 w 4343329"/>
              <a:gd name="connsiteY318" fmla="*/ 398569 h 2862353"/>
              <a:gd name="connsiteX319" fmla="*/ 2693067 w 4343329"/>
              <a:gd name="connsiteY319" fmla="*/ 398569 h 2862353"/>
              <a:gd name="connsiteX320" fmla="*/ 2818778 w 4343329"/>
              <a:gd name="connsiteY320" fmla="*/ 730063 h 2862353"/>
              <a:gd name="connsiteX321" fmla="*/ 2721892 w 4343329"/>
              <a:gd name="connsiteY321" fmla="*/ 730063 h 2862353"/>
              <a:gd name="connsiteX322" fmla="*/ 2705077 w 4343329"/>
              <a:gd name="connsiteY322" fmla="*/ 682020 h 2862353"/>
              <a:gd name="connsiteX323" fmla="*/ 2574562 w 4343329"/>
              <a:gd name="connsiteY323" fmla="*/ 682020 h 2862353"/>
              <a:gd name="connsiteX324" fmla="*/ 2557747 w 4343329"/>
              <a:gd name="connsiteY324" fmla="*/ 730063 h 2862353"/>
              <a:gd name="connsiteX325" fmla="*/ 2460861 w 4343329"/>
              <a:gd name="connsiteY325" fmla="*/ 730063 h 2862353"/>
              <a:gd name="connsiteX326" fmla="*/ 1669759 w 4343329"/>
              <a:gd name="connsiteY326" fmla="*/ 398569 h 2862353"/>
              <a:gd name="connsiteX327" fmla="*/ 1836307 w 4343329"/>
              <a:gd name="connsiteY327" fmla="*/ 398569 h 2862353"/>
              <a:gd name="connsiteX328" fmla="*/ 1921182 w 4343329"/>
              <a:gd name="connsiteY328" fmla="*/ 429797 h 2862353"/>
              <a:gd name="connsiteX329" fmla="*/ 1952410 w 4343329"/>
              <a:gd name="connsiteY329" fmla="*/ 509067 h 2862353"/>
              <a:gd name="connsiteX330" fmla="*/ 1932392 w 4343329"/>
              <a:gd name="connsiteY330" fmla="*/ 573924 h 2862353"/>
              <a:gd name="connsiteX331" fmla="*/ 1885951 w 4343329"/>
              <a:gd name="connsiteY331" fmla="*/ 608355 h 2862353"/>
              <a:gd name="connsiteX332" fmla="*/ 1954011 w 4343329"/>
              <a:gd name="connsiteY332" fmla="*/ 730864 h 2862353"/>
              <a:gd name="connsiteX333" fmla="*/ 1855524 w 4343329"/>
              <a:gd name="connsiteY333" fmla="*/ 730864 h 2862353"/>
              <a:gd name="connsiteX334" fmla="*/ 1799474 w 4343329"/>
              <a:gd name="connsiteY334" fmla="*/ 619565 h 2862353"/>
              <a:gd name="connsiteX335" fmla="*/ 1755435 w 4343329"/>
              <a:gd name="connsiteY335" fmla="*/ 619565 h 2862353"/>
              <a:gd name="connsiteX336" fmla="*/ 1755435 w 4343329"/>
              <a:gd name="connsiteY336" fmla="*/ 730063 h 2862353"/>
              <a:gd name="connsiteX337" fmla="*/ 1669759 w 4343329"/>
              <a:gd name="connsiteY337" fmla="*/ 730063 h 2862353"/>
              <a:gd name="connsiteX338" fmla="*/ 1381504 w 4343329"/>
              <a:gd name="connsiteY338" fmla="*/ 398569 h 2862353"/>
              <a:gd name="connsiteX339" fmla="*/ 1624920 w 4343329"/>
              <a:gd name="connsiteY339" fmla="*/ 398569 h 2862353"/>
              <a:gd name="connsiteX340" fmla="*/ 1624920 w 4343329"/>
              <a:gd name="connsiteY340" fmla="*/ 473035 h 2862353"/>
              <a:gd name="connsiteX341" fmla="*/ 1467180 w 4343329"/>
              <a:gd name="connsiteY341" fmla="*/ 473035 h 2862353"/>
              <a:gd name="connsiteX342" fmla="*/ 1467180 w 4343329"/>
              <a:gd name="connsiteY342" fmla="*/ 525081 h 2862353"/>
              <a:gd name="connsiteX343" fmla="*/ 1620916 w 4343329"/>
              <a:gd name="connsiteY343" fmla="*/ 525081 h 2862353"/>
              <a:gd name="connsiteX344" fmla="*/ 1620916 w 4343329"/>
              <a:gd name="connsiteY344" fmla="*/ 599547 h 2862353"/>
              <a:gd name="connsiteX345" fmla="*/ 1467180 w 4343329"/>
              <a:gd name="connsiteY345" fmla="*/ 599547 h 2862353"/>
              <a:gd name="connsiteX346" fmla="*/ 1467180 w 4343329"/>
              <a:gd name="connsiteY346" fmla="*/ 730864 h 2862353"/>
              <a:gd name="connsiteX347" fmla="*/ 1381504 w 4343329"/>
              <a:gd name="connsiteY347" fmla="*/ 730864 h 2862353"/>
              <a:gd name="connsiteX348" fmla="*/ 1124476 w 4343329"/>
              <a:gd name="connsiteY348" fmla="*/ 398569 h 2862353"/>
              <a:gd name="connsiteX349" fmla="*/ 1231771 w 4343329"/>
              <a:gd name="connsiteY349" fmla="*/ 398569 h 2862353"/>
              <a:gd name="connsiteX350" fmla="*/ 1357482 w 4343329"/>
              <a:gd name="connsiteY350" fmla="*/ 730063 h 2862353"/>
              <a:gd name="connsiteX351" fmla="*/ 1260596 w 4343329"/>
              <a:gd name="connsiteY351" fmla="*/ 730063 h 2862353"/>
              <a:gd name="connsiteX352" fmla="*/ 1243781 w 4343329"/>
              <a:gd name="connsiteY352" fmla="*/ 682020 h 2862353"/>
              <a:gd name="connsiteX353" fmla="*/ 1113266 w 4343329"/>
              <a:gd name="connsiteY353" fmla="*/ 682020 h 2862353"/>
              <a:gd name="connsiteX354" fmla="*/ 1096451 w 4343329"/>
              <a:gd name="connsiteY354" fmla="*/ 730063 h 2862353"/>
              <a:gd name="connsiteX355" fmla="*/ 999565 w 4343329"/>
              <a:gd name="connsiteY355" fmla="*/ 730063 h 2862353"/>
              <a:gd name="connsiteX356" fmla="*/ 2310328 w 4343329"/>
              <a:gd name="connsiteY356" fmla="*/ 395366 h 2862353"/>
              <a:gd name="connsiteX357" fmla="*/ 2455256 w 4343329"/>
              <a:gd name="connsiteY357" fmla="*/ 484245 h 2862353"/>
              <a:gd name="connsiteX358" fmla="*/ 2381591 w 4343329"/>
              <a:gd name="connsiteY358" fmla="*/ 518675 h 2862353"/>
              <a:gd name="connsiteX359" fmla="*/ 2353566 w 4343329"/>
              <a:gd name="connsiteY359" fmla="*/ 484245 h 2862353"/>
              <a:gd name="connsiteX360" fmla="*/ 2310328 w 4343329"/>
              <a:gd name="connsiteY360" fmla="*/ 470633 h 2862353"/>
              <a:gd name="connsiteX361" fmla="*/ 2243869 w 4343329"/>
              <a:gd name="connsiteY361" fmla="*/ 497857 h 2862353"/>
              <a:gd name="connsiteX362" fmla="*/ 2217445 w 4343329"/>
              <a:gd name="connsiteY362" fmla="*/ 565917 h 2862353"/>
              <a:gd name="connsiteX363" fmla="*/ 2243869 w 4343329"/>
              <a:gd name="connsiteY363" fmla="*/ 633977 h 2862353"/>
              <a:gd name="connsiteX364" fmla="*/ 2310328 w 4343329"/>
              <a:gd name="connsiteY364" fmla="*/ 661202 h 2862353"/>
              <a:gd name="connsiteX365" fmla="*/ 2353566 w 4343329"/>
              <a:gd name="connsiteY365" fmla="*/ 647590 h 2862353"/>
              <a:gd name="connsiteX366" fmla="*/ 2381591 w 4343329"/>
              <a:gd name="connsiteY366" fmla="*/ 613159 h 2862353"/>
              <a:gd name="connsiteX367" fmla="*/ 2455256 w 4343329"/>
              <a:gd name="connsiteY367" fmla="*/ 647590 h 2862353"/>
              <a:gd name="connsiteX368" fmla="*/ 2400808 w 4343329"/>
              <a:gd name="connsiteY368" fmla="*/ 710846 h 2862353"/>
              <a:gd name="connsiteX369" fmla="*/ 2309527 w 4343329"/>
              <a:gd name="connsiteY369" fmla="*/ 738871 h 2862353"/>
              <a:gd name="connsiteX370" fmla="*/ 2181413 w 4343329"/>
              <a:gd name="connsiteY370" fmla="*/ 690828 h 2862353"/>
              <a:gd name="connsiteX371" fmla="*/ 2130168 w 4343329"/>
              <a:gd name="connsiteY371" fmla="*/ 567519 h 2862353"/>
              <a:gd name="connsiteX372" fmla="*/ 2181413 w 4343329"/>
              <a:gd name="connsiteY372" fmla="*/ 443409 h 2862353"/>
              <a:gd name="connsiteX373" fmla="*/ 2310328 w 4343329"/>
              <a:gd name="connsiteY373" fmla="*/ 395366 h 2862353"/>
              <a:gd name="connsiteX374" fmla="*/ 2020470 w 4343329"/>
              <a:gd name="connsiteY374" fmla="*/ 377751 h 2862353"/>
              <a:gd name="connsiteX375" fmla="*/ 2062908 w 4343329"/>
              <a:gd name="connsiteY375" fmla="*/ 405776 h 2862353"/>
              <a:gd name="connsiteX376" fmla="*/ 2067712 w 4343329"/>
              <a:gd name="connsiteY376" fmla="*/ 408979 h 2862353"/>
              <a:gd name="connsiteX377" fmla="*/ 2074118 w 4343329"/>
              <a:gd name="connsiteY377" fmla="*/ 433801 h 2862353"/>
              <a:gd name="connsiteX378" fmla="*/ 2020470 w 4343329"/>
              <a:gd name="connsiteY378" fmla="*/ 392964 h 2862353"/>
              <a:gd name="connsiteX379" fmla="*/ 2020470 w 4343329"/>
              <a:gd name="connsiteY379" fmla="*/ 377751 h 2862353"/>
              <a:gd name="connsiteX380" fmla="*/ 2022072 w 4343329"/>
              <a:gd name="connsiteY380" fmla="*/ 345722 h 2862353"/>
              <a:gd name="connsiteX381" fmla="*/ 2062908 w 4343329"/>
              <a:gd name="connsiteY381" fmla="*/ 372946 h 2862353"/>
              <a:gd name="connsiteX382" fmla="*/ 2066912 w 4343329"/>
              <a:gd name="connsiteY382" fmla="*/ 375348 h 2862353"/>
              <a:gd name="connsiteX383" fmla="*/ 2066111 w 4343329"/>
              <a:gd name="connsiteY383" fmla="*/ 376149 h 2862353"/>
              <a:gd name="connsiteX384" fmla="*/ 2066912 w 4343329"/>
              <a:gd name="connsiteY384" fmla="*/ 404174 h 2862353"/>
              <a:gd name="connsiteX385" fmla="*/ 2018869 w 4343329"/>
              <a:gd name="connsiteY385" fmla="*/ 367341 h 2862353"/>
              <a:gd name="connsiteX386" fmla="*/ 2022072 w 4343329"/>
              <a:gd name="connsiteY386" fmla="*/ 357733 h 2862353"/>
              <a:gd name="connsiteX387" fmla="*/ 2020470 w 4343329"/>
              <a:gd name="connsiteY387" fmla="*/ 353729 h 2862353"/>
              <a:gd name="connsiteX388" fmla="*/ 2019670 w 4343329"/>
              <a:gd name="connsiteY388" fmla="*/ 348124 h 2862353"/>
              <a:gd name="connsiteX389" fmla="*/ 2022072 w 4343329"/>
              <a:gd name="connsiteY389" fmla="*/ 345722 h 2862353"/>
              <a:gd name="connsiteX390" fmla="*/ 2043691 w 4343329"/>
              <a:gd name="connsiteY390" fmla="*/ 344121 h 2862353"/>
              <a:gd name="connsiteX391" fmla="*/ 2061307 w 4343329"/>
              <a:gd name="connsiteY391" fmla="*/ 344922 h 2862353"/>
              <a:gd name="connsiteX392" fmla="*/ 2066912 w 4343329"/>
              <a:gd name="connsiteY392" fmla="*/ 348925 h 2862353"/>
              <a:gd name="connsiteX393" fmla="*/ 2066111 w 4343329"/>
              <a:gd name="connsiteY393" fmla="*/ 354530 h 2862353"/>
              <a:gd name="connsiteX394" fmla="*/ 2064510 w 4343329"/>
              <a:gd name="connsiteY394" fmla="*/ 358534 h 2862353"/>
              <a:gd name="connsiteX395" fmla="*/ 2068513 w 4343329"/>
              <a:gd name="connsiteY395" fmla="*/ 370544 h 2862353"/>
              <a:gd name="connsiteX396" fmla="*/ 2069314 w 4343329"/>
              <a:gd name="connsiteY396" fmla="*/ 372947 h 2862353"/>
              <a:gd name="connsiteX397" fmla="*/ 2030880 w 4343329"/>
              <a:gd name="connsiteY397" fmla="*/ 344922 h 2862353"/>
              <a:gd name="connsiteX398" fmla="*/ 2043691 w 4343329"/>
              <a:gd name="connsiteY398" fmla="*/ 344121 h 2862353"/>
              <a:gd name="connsiteX399" fmla="*/ 247699 w 4343329"/>
              <a:gd name="connsiteY399" fmla="*/ 283267 h 2862353"/>
              <a:gd name="connsiteX400" fmla="*/ 347788 w 4343329"/>
              <a:gd name="connsiteY400" fmla="*/ 355331 h 2862353"/>
              <a:gd name="connsiteX401" fmla="*/ 599210 w 4343329"/>
              <a:gd name="connsiteY401" fmla="*/ 478640 h 2862353"/>
              <a:gd name="connsiteX402" fmla="*/ 734530 w 4343329"/>
              <a:gd name="connsiteY402" fmla="*/ 517875 h 2862353"/>
              <a:gd name="connsiteX403" fmla="*/ 873854 w 4343329"/>
              <a:gd name="connsiteY403" fmla="*/ 540295 h 2862353"/>
              <a:gd name="connsiteX404" fmla="*/ 909085 w 4343329"/>
              <a:gd name="connsiteY404" fmla="*/ 543498 h 2862353"/>
              <a:gd name="connsiteX405" fmla="*/ 944316 w 4343329"/>
              <a:gd name="connsiteY405" fmla="*/ 545099 h 2862353"/>
              <a:gd name="connsiteX406" fmla="*/ 961932 w 4343329"/>
              <a:gd name="connsiteY406" fmla="*/ 545900 h 2862353"/>
              <a:gd name="connsiteX407" fmla="*/ 979548 w 4343329"/>
              <a:gd name="connsiteY407" fmla="*/ 545900 h 2862353"/>
              <a:gd name="connsiteX408" fmla="*/ 987555 w 4343329"/>
              <a:gd name="connsiteY408" fmla="*/ 545900 h 2862353"/>
              <a:gd name="connsiteX409" fmla="*/ 907484 w 4343329"/>
              <a:gd name="connsiteY409" fmla="*/ 759689 h 2862353"/>
              <a:gd name="connsiteX410" fmla="*/ 894672 w 4343329"/>
              <a:gd name="connsiteY410" fmla="*/ 759689 h 2862353"/>
              <a:gd name="connsiteX411" fmla="*/ 859441 w 4343329"/>
              <a:gd name="connsiteY411" fmla="*/ 760490 h 2862353"/>
              <a:gd name="connsiteX412" fmla="*/ 824210 w 4343329"/>
              <a:gd name="connsiteY412" fmla="*/ 759689 h 2862353"/>
              <a:gd name="connsiteX413" fmla="*/ 542360 w 4343329"/>
              <a:gd name="connsiteY413" fmla="*/ 718853 h 2862353"/>
              <a:gd name="connsiteX414" fmla="*/ 274122 w 4343329"/>
              <a:gd name="connsiteY414" fmla="*/ 616362 h 2862353"/>
              <a:gd name="connsiteX415" fmla="*/ 147610 w 4343329"/>
              <a:gd name="connsiteY415" fmla="*/ 545099 h 2862353"/>
              <a:gd name="connsiteX416" fmla="*/ 87557 w 4343329"/>
              <a:gd name="connsiteY416" fmla="*/ 504263 h 2862353"/>
              <a:gd name="connsiteX417" fmla="*/ 78749 w 4343329"/>
              <a:gd name="connsiteY417" fmla="*/ 497857 h 2862353"/>
              <a:gd name="connsiteX418" fmla="*/ 247699 w 4343329"/>
              <a:gd name="connsiteY418" fmla="*/ 308890 h 2862353"/>
              <a:gd name="connsiteX419" fmla="*/ 247699 w 4343329"/>
              <a:gd name="connsiteY419" fmla="*/ 283267 h 2862353"/>
              <a:gd name="connsiteX420" fmla="*/ 930352 w 4343329"/>
              <a:gd name="connsiteY420" fmla="*/ 48 h 2862353"/>
              <a:gd name="connsiteX421" fmla="*/ 935508 w 4343329"/>
              <a:gd name="connsiteY421" fmla="*/ 130331 h 2862353"/>
              <a:gd name="connsiteX422" fmla="*/ 1144494 w 4343329"/>
              <a:gd name="connsiteY422" fmla="*/ 256042 h 2862353"/>
              <a:gd name="connsiteX423" fmla="*/ 1379102 w 4343329"/>
              <a:gd name="connsiteY423" fmla="*/ 197590 h 2862353"/>
              <a:gd name="connsiteX424" fmla="*/ 1618514 w 4343329"/>
              <a:gd name="connsiteY424" fmla="*/ 263249 h 2862353"/>
              <a:gd name="connsiteX425" fmla="*/ 1703389 w 4343329"/>
              <a:gd name="connsiteY425" fmla="*/ 317697 h 2862353"/>
              <a:gd name="connsiteX426" fmla="*/ 1680168 w 4343329"/>
              <a:gd name="connsiteY426" fmla="*/ 324103 h 2862353"/>
              <a:gd name="connsiteX427" fmla="*/ 1306237 w 4343329"/>
              <a:gd name="connsiteY427" fmla="*/ 324103 h 2862353"/>
              <a:gd name="connsiteX428" fmla="*/ 1306237 w 4343329"/>
              <a:gd name="connsiteY428" fmla="*/ 383355 h 2862353"/>
              <a:gd name="connsiteX429" fmla="*/ 1283817 w 4343329"/>
              <a:gd name="connsiteY429" fmla="*/ 324103 h 2862353"/>
              <a:gd name="connsiteX430" fmla="*/ 1072430 w 4343329"/>
              <a:gd name="connsiteY430" fmla="*/ 324103 h 2862353"/>
              <a:gd name="connsiteX431" fmla="*/ 1014779 w 4343329"/>
              <a:gd name="connsiteY431" fmla="*/ 477839 h 2862353"/>
              <a:gd name="connsiteX432" fmla="*/ 1013978 w 4343329"/>
              <a:gd name="connsiteY432" fmla="*/ 477839 h 2862353"/>
              <a:gd name="connsiteX433" fmla="*/ 980348 w 4343329"/>
              <a:gd name="connsiteY433" fmla="*/ 478640 h 2862353"/>
              <a:gd name="connsiteX434" fmla="*/ 963533 w 4343329"/>
              <a:gd name="connsiteY434" fmla="*/ 478640 h 2862353"/>
              <a:gd name="connsiteX435" fmla="*/ 946718 w 4343329"/>
              <a:gd name="connsiteY435" fmla="*/ 477839 h 2862353"/>
              <a:gd name="connsiteX436" fmla="*/ 913088 w 4343329"/>
              <a:gd name="connsiteY436" fmla="*/ 477038 h 2862353"/>
              <a:gd name="connsiteX437" fmla="*/ 879459 w 4343329"/>
              <a:gd name="connsiteY437" fmla="*/ 474636 h 2862353"/>
              <a:gd name="connsiteX438" fmla="*/ 746541 w 4343329"/>
              <a:gd name="connsiteY438" fmla="*/ 457821 h 2862353"/>
              <a:gd name="connsiteX439" fmla="*/ 680883 w 4343329"/>
              <a:gd name="connsiteY439" fmla="*/ 443408 h 2862353"/>
              <a:gd name="connsiteX440" fmla="*/ 648053 w 4343329"/>
              <a:gd name="connsiteY440" fmla="*/ 435401 h 2862353"/>
              <a:gd name="connsiteX441" fmla="*/ 615224 w 4343329"/>
              <a:gd name="connsiteY441" fmla="*/ 426593 h 2862353"/>
              <a:gd name="connsiteX442" fmla="*/ 363802 w 4343329"/>
              <a:gd name="connsiteY442" fmla="*/ 325704 h 2862353"/>
              <a:gd name="connsiteX443" fmla="*/ 249300 w 4343329"/>
              <a:gd name="connsiteY443" fmla="*/ 260046 h 2862353"/>
              <a:gd name="connsiteX444" fmla="*/ 356595 w 4343329"/>
              <a:gd name="connsiteY444" fmla="*/ 130331 h 2862353"/>
              <a:gd name="connsiteX445" fmla="*/ 483107 w 4343329"/>
              <a:gd name="connsiteY445" fmla="*/ 80687 h 2862353"/>
              <a:gd name="connsiteX446" fmla="*/ 698498 w 4343329"/>
              <a:gd name="connsiteY446" fmla="*/ 19833 h 2862353"/>
              <a:gd name="connsiteX447" fmla="*/ 906683 w 4343329"/>
              <a:gd name="connsiteY447" fmla="*/ 5420 h 2862353"/>
              <a:gd name="connsiteX448" fmla="*/ 930352 w 4343329"/>
              <a:gd name="connsiteY448" fmla="*/ 48 h 2862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</a:cxnLst>
            <a:rect l="l" t="t" r="r" b="b"/>
            <a:pathLst>
              <a:path w="4343329" h="2862353">
                <a:moveTo>
                  <a:pt x="2463262" y="2032818"/>
                </a:moveTo>
                <a:cubicBezTo>
                  <a:pt x="2487142" y="2032818"/>
                  <a:pt x="2506501" y="2052176"/>
                  <a:pt x="2506501" y="2076056"/>
                </a:cubicBezTo>
                <a:cubicBezTo>
                  <a:pt x="2506501" y="2099936"/>
                  <a:pt x="2487142" y="2119295"/>
                  <a:pt x="2463262" y="2119295"/>
                </a:cubicBezTo>
                <a:cubicBezTo>
                  <a:pt x="2439383" y="2119295"/>
                  <a:pt x="2420024" y="2099936"/>
                  <a:pt x="2420024" y="2076056"/>
                </a:cubicBezTo>
                <a:cubicBezTo>
                  <a:pt x="2420024" y="2052176"/>
                  <a:pt x="2439383" y="2032818"/>
                  <a:pt x="2463262" y="2032818"/>
                </a:cubicBezTo>
                <a:close/>
                <a:moveTo>
                  <a:pt x="2295114" y="1959153"/>
                </a:moveTo>
                <a:cubicBezTo>
                  <a:pt x="2301519" y="1965558"/>
                  <a:pt x="2312729" y="1970363"/>
                  <a:pt x="2314331" y="1987178"/>
                </a:cubicBezTo>
                <a:cubicBezTo>
                  <a:pt x="2316733" y="2003993"/>
                  <a:pt x="2326341" y="2088868"/>
                  <a:pt x="2324740" y="2092871"/>
                </a:cubicBezTo>
                <a:cubicBezTo>
                  <a:pt x="2322338" y="2096875"/>
                  <a:pt x="2301519" y="2068049"/>
                  <a:pt x="2302320" y="2100078"/>
                </a:cubicBezTo>
                <a:cubicBezTo>
                  <a:pt x="2303121" y="2132907"/>
                  <a:pt x="2310327" y="2136110"/>
                  <a:pt x="2303121" y="2145718"/>
                </a:cubicBezTo>
                <a:cubicBezTo>
                  <a:pt x="2295914" y="2155327"/>
                  <a:pt x="2279900" y="2161732"/>
                  <a:pt x="2279900" y="2172942"/>
                </a:cubicBezTo>
                <a:cubicBezTo>
                  <a:pt x="2280701" y="2184152"/>
                  <a:pt x="2273494" y="2202569"/>
                  <a:pt x="2270292" y="2216181"/>
                </a:cubicBezTo>
                <a:cubicBezTo>
                  <a:pt x="2267089" y="2229793"/>
                  <a:pt x="2262285" y="2238601"/>
                  <a:pt x="2251075" y="2254615"/>
                </a:cubicBezTo>
                <a:cubicBezTo>
                  <a:pt x="2239865" y="2270629"/>
                  <a:pt x="2243868" y="2285842"/>
                  <a:pt x="2243868" y="2285842"/>
                </a:cubicBezTo>
                <a:lnTo>
                  <a:pt x="2179011" y="2423565"/>
                </a:lnTo>
                <a:cubicBezTo>
                  <a:pt x="2179011" y="2423565"/>
                  <a:pt x="2162997" y="2429970"/>
                  <a:pt x="2162997" y="2442782"/>
                </a:cubicBezTo>
                <a:cubicBezTo>
                  <a:pt x="2162997" y="2455593"/>
                  <a:pt x="2153388" y="2477212"/>
                  <a:pt x="2153388" y="2477212"/>
                </a:cubicBezTo>
                <a:cubicBezTo>
                  <a:pt x="2153388" y="2477212"/>
                  <a:pt x="2144580" y="2497230"/>
                  <a:pt x="2130968" y="2495628"/>
                </a:cubicBezTo>
                <a:cubicBezTo>
                  <a:pt x="2117356" y="2494027"/>
                  <a:pt x="2122160" y="2488422"/>
                  <a:pt x="2106947" y="2495628"/>
                </a:cubicBezTo>
                <a:cubicBezTo>
                  <a:pt x="2092534" y="2503636"/>
                  <a:pt x="2077320" y="2509240"/>
                  <a:pt x="2063709" y="2502835"/>
                </a:cubicBezTo>
                <a:cubicBezTo>
                  <a:pt x="2049296" y="2496429"/>
                  <a:pt x="2026876" y="2474810"/>
                  <a:pt x="2028477" y="2457194"/>
                </a:cubicBezTo>
                <a:cubicBezTo>
                  <a:pt x="2030079" y="2439579"/>
                  <a:pt x="2038086" y="2431572"/>
                  <a:pt x="2032481" y="2413956"/>
                </a:cubicBezTo>
                <a:cubicBezTo>
                  <a:pt x="2027677" y="2397141"/>
                  <a:pt x="2014064" y="2367515"/>
                  <a:pt x="2021271" y="2358707"/>
                </a:cubicBezTo>
                <a:cubicBezTo>
                  <a:pt x="2028477" y="2349899"/>
                  <a:pt x="2040488" y="2339490"/>
                  <a:pt x="2046093" y="2320273"/>
                </a:cubicBezTo>
                <a:cubicBezTo>
                  <a:pt x="2051698" y="2301056"/>
                  <a:pt x="2063709" y="2310664"/>
                  <a:pt x="2063709" y="2310664"/>
                </a:cubicBezTo>
                <a:cubicBezTo>
                  <a:pt x="2063709" y="2310664"/>
                  <a:pt x="2074118" y="2280237"/>
                  <a:pt x="2077320" y="2268227"/>
                </a:cubicBezTo>
                <a:cubicBezTo>
                  <a:pt x="2080523" y="2256216"/>
                  <a:pt x="2078922" y="2205771"/>
                  <a:pt x="2075719" y="2193761"/>
                </a:cubicBezTo>
                <a:cubicBezTo>
                  <a:pt x="2072516" y="2180949"/>
                  <a:pt x="2061306" y="2172142"/>
                  <a:pt x="2070114" y="2160932"/>
                </a:cubicBezTo>
                <a:cubicBezTo>
                  <a:pt x="2078922" y="2149722"/>
                  <a:pt x="2089331" y="2124900"/>
                  <a:pt x="2098139" y="2114491"/>
                </a:cubicBezTo>
                <a:cubicBezTo>
                  <a:pt x="2098139" y="2114491"/>
                  <a:pt x="2162196" y="2097676"/>
                  <a:pt x="2185416" y="2072053"/>
                </a:cubicBezTo>
                <a:cubicBezTo>
                  <a:pt x="2208637" y="2046430"/>
                  <a:pt x="2233459" y="2004793"/>
                  <a:pt x="2242267" y="2003993"/>
                </a:cubicBezTo>
                <a:cubicBezTo>
                  <a:pt x="2251075" y="2003192"/>
                  <a:pt x="2275096" y="2003192"/>
                  <a:pt x="2276697" y="1990381"/>
                </a:cubicBezTo>
                <a:cubicBezTo>
                  <a:pt x="2277498" y="1977569"/>
                  <a:pt x="2289509" y="1953548"/>
                  <a:pt x="2295114" y="1959153"/>
                </a:cubicBezTo>
                <a:close/>
                <a:moveTo>
                  <a:pt x="1986040" y="1903903"/>
                </a:moveTo>
                <a:cubicBezTo>
                  <a:pt x="2008460" y="1991180"/>
                  <a:pt x="2013264" y="2080059"/>
                  <a:pt x="1937197" y="2136909"/>
                </a:cubicBezTo>
                <a:cubicBezTo>
                  <a:pt x="1734617" y="2220984"/>
                  <a:pt x="1828300" y="2281838"/>
                  <a:pt x="1809884" y="2432371"/>
                </a:cubicBezTo>
                <a:cubicBezTo>
                  <a:pt x="1624119" y="2539667"/>
                  <a:pt x="1760240" y="2757460"/>
                  <a:pt x="1403924" y="2840733"/>
                </a:cubicBezTo>
                <a:cubicBezTo>
                  <a:pt x="1431949" y="2753456"/>
                  <a:pt x="1463977" y="2667780"/>
                  <a:pt x="1500810" y="2584506"/>
                </a:cubicBezTo>
                <a:cubicBezTo>
                  <a:pt x="1504013" y="2576499"/>
                  <a:pt x="1507216" y="2569293"/>
                  <a:pt x="1511219" y="2561286"/>
                </a:cubicBezTo>
                <a:lnTo>
                  <a:pt x="1522429" y="2538065"/>
                </a:lnTo>
                <a:cubicBezTo>
                  <a:pt x="1530436" y="2522852"/>
                  <a:pt x="1536842" y="2507638"/>
                  <a:pt x="1544849" y="2492425"/>
                </a:cubicBezTo>
                <a:lnTo>
                  <a:pt x="1568070" y="2447585"/>
                </a:lnTo>
                <a:cubicBezTo>
                  <a:pt x="1576077" y="2433172"/>
                  <a:pt x="1584884" y="2418759"/>
                  <a:pt x="1592891" y="2403546"/>
                </a:cubicBezTo>
                <a:lnTo>
                  <a:pt x="1604902" y="2381126"/>
                </a:lnTo>
                <a:cubicBezTo>
                  <a:pt x="1608906" y="2373920"/>
                  <a:pt x="1613710" y="2366713"/>
                  <a:pt x="1617713" y="2359507"/>
                </a:cubicBezTo>
                <a:cubicBezTo>
                  <a:pt x="1626521" y="2345094"/>
                  <a:pt x="1635329" y="2330681"/>
                  <a:pt x="1644137" y="2316268"/>
                </a:cubicBezTo>
                <a:lnTo>
                  <a:pt x="1671361" y="2273831"/>
                </a:lnTo>
                <a:cubicBezTo>
                  <a:pt x="1680169" y="2259418"/>
                  <a:pt x="1690578" y="2245806"/>
                  <a:pt x="1700187" y="2232194"/>
                </a:cubicBezTo>
                <a:cubicBezTo>
                  <a:pt x="1777055" y="2121696"/>
                  <a:pt x="1865934" y="2019205"/>
                  <a:pt x="1963620" y="1924721"/>
                </a:cubicBezTo>
                <a:cubicBezTo>
                  <a:pt x="1971627" y="1917515"/>
                  <a:pt x="1978834" y="1911109"/>
                  <a:pt x="1986040" y="1903903"/>
                </a:cubicBezTo>
                <a:close/>
                <a:moveTo>
                  <a:pt x="1758638" y="1806217"/>
                </a:moveTo>
                <a:lnTo>
                  <a:pt x="1953210" y="1806217"/>
                </a:lnTo>
                <a:cubicBezTo>
                  <a:pt x="1958014" y="1820630"/>
                  <a:pt x="1962819" y="1835042"/>
                  <a:pt x="1967623" y="1850256"/>
                </a:cubicBezTo>
                <a:cubicBezTo>
                  <a:pt x="1953210" y="1861466"/>
                  <a:pt x="1939598" y="1873477"/>
                  <a:pt x="1925185" y="1884686"/>
                </a:cubicBezTo>
                <a:cubicBezTo>
                  <a:pt x="1817890" y="1973565"/>
                  <a:pt x="1721004" y="2077658"/>
                  <a:pt x="1640933" y="2192960"/>
                </a:cubicBezTo>
                <a:cubicBezTo>
                  <a:pt x="1620916" y="2221785"/>
                  <a:pt x="1602499" y="2251412"/>
                  <a:pt x="1583282" y="2281038"/>
                </a:cubicBezTo>
                <a:cubicBezTo>
                  <a:pt x="1574475" y="2296251"/>
                  <a:pt x="1565667" y="2311465"/>
                  <a:pt x="1556859" y="2326678"/>
                </a:cubicBezTo>
                <a:cubicBezTo>
                  <a:pt x="1552855" y="2334686"/>
                  <a:pt x="1548051" y="2341892"/>
                  <a:pt x="1544048" y="2349899"/>
                </a:cubicBezTo>
                <a:lnTo>
                  <a:pt x="1532037" y="2373119"/>
                </a:lnTo>
                <a:cubicBezTo>
                  <a:pt x="1499208" y="2435575"/>
                  <a:pt x="1471984" y="2500432"/>
                  <a:pt x="1447962" y="2566091"/>
                </a:cubicBezTo>
                <a:cubicBezTo>
                  <a:pt x="1415934" y="2658172"/>
                  <a:pt x="1391913" y="2752656"/>
                  <a:pt x="1376699" y="2848741"/>
                </a:cubicBezTo>
                <a:cubicBezTo>
                  <a:pt x="1351076" y="2853545"/>
                  <a:pt x="1322251" y="2858350"/>
                  <a:pt x="1291023" y="2862353"/>
                </a:cubicBezTo>
                <a:cubicBezTo>
                  <a:pt x="1211753" y="2852745"/>
                  <a:pt x="1225365" y="2764667"/>
                  <a:pt x="1195739" y="2706215"/>
                </a:cubicBezTo>
                <a:cubicBezTo>
                  <a:pt x="1188532" y="2695005"/>
                  <a:pt x="1182127" y="2683795"/>
                  <a:pt x="1175721" y="2671784"/>
                </a:cubicBezTo>
                <a:cubicBezTo>
                  <a:pt x="1185329" y="2642959"/>
                  <a:pt x="1195739" y="2614934"/>
                  <a:pt x="1207749" y="2586909"/>
                </a:cubicBezTo>
                <a:lnTo>
                  <a:pt x="1213354" y="2572496"/>
                </a:lnTo>
                <a:lnTo>
                  <a:pt x="1219760" y="2558083"/>
                </a:lnTo>
                <a:lnTo>
                  <a:pt x="1232571" y="2529258"/>
                </a:lnTo>
                <a:cubicBezTo>
                  <a:pt x="1241379" y="2510041"/>
                  <a:pt x="1249386" y="2490824"/>
                  <a:pt x="1258995" y="2472407"/>
                </a:cubicBezTo>
                <a:lnTo>
                  <a:pt x="1287020" y="2416358"/>
                </a:lnTo>
                <a:lnTo>
                  <a:pt x="1317447" y="2361910"/>
                </a:lnTo>
                <a:cubicBezTo>
                  <a:pt x="1359083" y="2290646"/>
                  <a:pt x="1403923" y="2220184"/>
                  <a:pt x="1453567" y="2153725"/>
                </a:cubicBezTo>
                <a:cubicBezTo>
                  <a:pt x="1459973" y="2145718"/>
                  <a:pt x="1465578" y="2136910"/>
                  <a:pt x="1471984" y="2128903"/>
                </a:cubicBezTo>
                <a:lnTo>
                  <a:pt x="1491201" y="2104081"/>
                </a:lnTo>
                <a:cubicBezTo>
                  <a:pt x="1504012" y="2087266"/>
                  <a:pt x="1516023" y="2071252"/>
                  <a:pt x="1529635" y="2055238"/>
                </a:cubicBezTo>
                <a:lnTo>
                  <a:pt x="1569670" y="2007195"/>
                </a:lnTo>
                <a:lnTo>
                  <a:pt x="1611307" y="1960754"/>
                </a:lnTo>
                <a:lnTo>
                  <a:pt x="1621716" y="1948743"/>
                </a:lnTo>
                <a:lnTo>
                  <a:pt x="1632126" y="1937533"/>
                </a:lnTo>
                <a:lnTo>
                  <a:pt x="1653745" y="1915113"/>
                </a:lnTo>
                <a:lnTo>
                  <a:pt x="1675364" y="1892694"/>
                </a:lnTo>
                <a:lnTo>
                  <a:pt x="1696983" y="1870274"/>
                </a:lnTo>
                <a:lnTo>
                  <a:pt x="1718602" y="1847854"/>
                </a:lnTo>
                <a:lnTo>
                  <a:pt x="1729812" y="1836644"/>
                </a:lnTo>
                <a:lnTo>
                  <a:pt x="1741022" y="1825434"/>
                </a:lnTo>
                <a:close/>
                <a:moveTo>
                  <a:pt x="1114867" y="1607641"/>
                </a:moveTo>
                <a:lnTo>
                  <a:pt x="1171718" y="1806217"/>
                </a:lnTo>
                <a:lnTo>
                  <a:pt x="1258195" y="1806217"/>
                </a:lnTo>
                <a:cubicBezTo>
                  <a:pt x="1208550" y="1879882"/>
                  <a:pt x="1164511" y="1957551"/>
                  <a:pt x="1127679" y="2037622"/>
                </a:cubicBezTo>
                <a:cubicBezTo>
                  <a:pt x="1092447" y="2114490"/>
                  <a:pt x="1062821" y="2192960"/>
                  <a:pt x="1039601" y="2273832"/>
                </a:cubicBezTo>
                <a:cubicBezTo>
                  <a:pt x="1028391" y="2249010"/>
                  <a:pt x="1016380" y="2224187"/>
                  <a:pt x="1002768" y="2200166"/>
                </a:cubicBezTo>
                <a:cubicBezTo>
                  <a:pt x="1043604" y="1979170"/>
                  <a:pt x="1057216" y="1875078"/>
                  <a:pt x="1017181" y="1743762"/>
                </a:cubicBezTo>
                <a:cubicBezTo>
                  <a:pt x="1033996" y="1717338"/>
                  <a:pt x="1051611" y="1690915"/>
                  <a:pt x="1070828" y="1665292"/>
                </a:cubicBezTo>
                <a:lnTo>
                  <a:pt x="1081238" y="1650879"/>
                </a:lnTo>
                <a:cubicBezTo>
                  <a:pt x="1085241" y="1646075"/>
                  <a:pt x="1088444" y="1641271"/>
                  <a:pt x="1092447" y="1636466"/>
                </a:cubicBezTo>
                <a:close/>
                <a:moveTo>
                  <a:pt x="1608906" y="1587623"/>
                </a:moveTo>
                <a:lnTo>
                  <a:pt x="1658550" y="1807017"/>
                </a:lnTo>
                <a:lnTo>
                  <a:pt x="1662554" y="1807017"/>
                </a:lnTo>
                <a:cubicBezTo>
                  <a:pt x="1657749" y="1811822"/>
                  <a:pt x="1652144" y="1817427"/>
                  <a:pt x="1647340" y="1822231"/>
                </a:cubicBezTo>
                <a:lnTo>
                  <a:pt x="1624920" y="1844651"/>
                </a:lnTo>
                <a:lnTo>
                  <a:pt x="1602500" y="1867871"/>
                </a:lnTo>
                <a:lnTo>
                  <a:pt x="1580080" y="1891092"/>
                </a:lnTo>
                <a:lnTo>
                  <a:pt x="1568870" y="1903103"/>
                </a:lnTo>
                <a:lnTo>
                  <a:pt x="1558461" y="1915113"/>
                </a:lnTo>
                <a:cubicBezTo>
                  <a:pt x="1500810" y="1978369"/>
                  <a:pt x="1447963" y="2045629"/>
                  <a:pt x="1399120" y="2116091"/>
                </a:cubicBezTo>
                <a:cubicBezTo>
                  <a:pt x="1387109" y="2134508"/>
                  <a:pt x="1375099" y="2152123"/>
                  <a:pt x="1363088" y="2169739"/>
                </a:cubicBezTo>
                <a:lnTo>
                  <a:pt x="1329458" y="2224187"/>
                </a:lnTo>
                <a:lnTo>
                  <a:pt x="1321451" y="2237799"/>
                </a:lnTo>
                <a:cubicBezTo>
                  <a:pt x="1318248" y="2242604"/>
                  <a:pt x="1315846" y="2247408"/>
                  <a:pt x="1313444" y="2252212"/>
                </a:cubicBezTo>
                <a:lnTo>
                  <a:pt x="1298231" y="2280237"/>
                </a:lnTo>
                <a:lnTo>
                  <a:pt x="1283017" y="2308262"/>
                </a:lnTo>
                <a:cubicBezTo>
                  <a:pt x="1280615" y="2313066"/>
                  <a:pt x="1278213" y="2317870"/>
                  <a:pt x="1275811" y="2322675"/>
                </a:cubicBezTo>
                <a:lnTo>
                  <a:pt x="1268604" y="2337087"/>
                </a:lnTo>
                <a:cubicBezTo>
                  <a:pt x="1259796" y="2356304"/>
                  <a:pt x="1250188" y="2375522"/>
                  <a:pt x="1241380" y="2394739"/>
                </a:cubicBezTo>
                <a:lnTo>
                  <a:pt x="1217359" y="2453991"/>
                </a:lnTo>
                <a:cubicBezTo>
                  <a:pt x="1209352" y="2473208"/>
                  <a:pt x="1202946" y="2494027"/>
                  <a:pt x="1195740" y="2514044"/>
                </a:cubicBezTo>
                <a:lnTo>
                  <a:pt x="1185330" y="2544471"/>
                </a:lnTo>
                <a:lnTo>
                  <a:pt x="1180526" y="2559685"/>
                </a:lnTo>
                <a:lnTo>
                  <a:pt x="1176523" y="2574898"/>
                </a:lnTo>
                <a:lnTo>
                  <a:pt x="1158907" y="2637354"/>
                </a:lnTo>
                <a:cubicBezTo>
                  <a:pt x="1114067" y="2538066"/>
                  <a:pt x="1096452" y="2431571"/>
                  <a:pt x="1059619" y="2328279"/>
                </a:cubicBezTo>
                <a:cubicBezTo>
                  <a:pt x="1092448" y="2236999"/>
                  <a:pt x="1130882" y="2148120"/>
                  <a:pt x="1175722" y="2062444"/>
                </a:cubicBezTo>
                <a:cubicBezTo>
                  <a:pt x="1222964" y="1972764"/>
                  <a:pt x="1277412" y="1887088"/>
                  <a:pt x="1339067" y="1807017"/>
                </a:cubicBezTo>
                <a:lnTo>
                  <a:pt x="1559262" y="1807017"/>
                </a:lnTo>
                <a:close/>
                <a:moveTo>
                  <a:pt x="2685059" y="878194"/>
                </a:moveTo>
                <a:lnTo>
                  <a:pt x="2950895" y="878194"/>
                </a:lnTo>
                <a:lnTo>
                  <a:pt x="3247157" y="1281752"/>
                </a:lnTo>
                <a:lnTo>
                  <a:pt x="3247157" y="878194"/>
                </a:lnTo>
                <a:lnTo>
                  <a:pt x="3505787" y="878194"/>
                </a:lnTo>
                <a:lnTo>
                  <a:pt x="3505787" y="1730950"/>
                </a:lnTo>
                <a:lnTo>
                  <a:pt x="3257567" y="1730950"/>
                </a:lnTo>
                <a:lnTo>
                  <a:pt x="2942888" y="1298567"/>
                </a:lnTo>
                <a:lnTo>
                  <a:pt x="2942888" y="1730950"/>
                </a:lnTo>
                <a:lnTo>
                  <a:pt x="2685059" y="1730950"/>
                </a:lnTo>
                <a:close/>
                <a:moveTo>
                  <a:pt x="2288708" y="878194"/>
                </a:moveTo>
                <a:lnTo>
                  <a:pt x="2547337" y="878194"/>
                </a:lnTo>
                <a:lnTo>
                  <a:pt x="2547337" y="1730950"/>
                </a:lnTo>
                <a:lnTo>
                  <a:pt x="2288708" y="1730950"/>
                </a:lnTo>
                <a:close/>
                <a:moveTo>
                  <a:pt x="984352" y="878194"/>
                </a:moveTo>
                <a:lnTo>
                  <a:pt x="1273408" y="878194"/>
                </a:lnTo>
                <a:lnTo>
                  <a:pt x="1383105" y="1399456"/>
                </a:lnTo>
                <a:lnTo>
                  <a:pt x="1512820" y="878194"/>
                </a:lnTo>
                <a:lnTo>
                  <a:pt x="1706592" y="878194"/>
                </a:lnTo>
                <a:lnTo>
                  <a:pt x="1835506" y="1399456"/>
                </a:lnTo>
                <a:lnTo>
                  <a:pt x="1944403" y="878194"/>
                </a:lnTo>
                <a:lnTo>
                  <a:pt x="2235061" y="878194"/>
                </a:lnTo>
                <a:lnTo>
                  <a:pt x="1990844" y="1730950"/>
                </a:lnTo>
                <a:lnTo>
                  <a:pt x="1719404" y="1730950"/>
                </a:lnTo>
                <a:lnTo>
                  <a:pt x="1609706" y="1247321"/>
                </a:lnTo>
                <a:lnTo>
                  <a:pt x="1500009" y="1730950"/>
                </a:lnTo>
                <a:lnTo>
                  <a:pt x="1228568" y="1730950"/>
                </a:lnTo>
                <a:close/>
                <a:moveTo>
                  <a:pt x="3960590" y="866183"/>
                </a:moveTo>
                <a:cubicBezTo>
                  <a:pt x="4104717" y="866183"/>
                  <a:pt x="4225625" y="905418"/>
                  <a:pt x="4322510" y="984688"/>
                </a:cubicBezTo>
                <a:lnTo>
                  <a:pt x="4184788" y="1167250"/>
                </a:lnTo>
                <a:cubicBezTo>
                  <a:pt x="4110322" y="1111200"/>
                  <a:pt x="4027048" y="1083175"/>
                  <a:pt x="3934166" y="1083175"/>
                </a:cubicBezTo>
                <a:cubicBezTo>
                  <a:pt x="3890928" y="1083175"/>
                  <a:pt x="3869309" y="1095987"/>
                  <a:pt x="3869309" y="1121610"/>
                </a:cubicBezTo>
                <a:cubicBezTo>
                  <a:pt x="3869309" y="1133620"/>
                  <a:pt x="3881319" y="1143229"/>
                  <a:pt x="3904540" y="1152036"/>
                </a:cubicBezTo>
                <a:cubicBezTo>
                  <a:pt x="3927761" y="1160844"/>
                  <a:pt x="3956586" y="1167250"/>
                  <a:pt x="3991817" y="1172054"/>
                </a:cubicBezTo>
                <a:cubicBezTo>
                  <a:pt x="4027048" y="1176858"/>
                  <a:pt x="4064682" y="1185666"/>
                  <a:pt x="4106319" y="1197677"/>
                </a:cubicBezTo>
                <a:cubicBezTo>
                  <a:pt x="4147956" y="1209688"/>
                  <a:pt x="4185589" y="1224901"/>
                  <a:pt x="4220820" y="1241716"/>
                </a:cubicBezTo>
                <a:cubicBezTo>
                  <a:pt x="4255251" y="1259332"/>
                  <a:pt x="4284877" y="1285755"/>
                  <a:pt x="4308098" y="1321787"/>
                </a:cubicBezTo>
                <a:cubicBezTo>
                  <a:pt x="4331318" y="1357819"/>
                  <a:pt x="4343329" y="1400256"/>
                  <a:pt x="4343329" y="1449901"/>
                </a:cubicBezTo>
                <a:cubicBezTo>
                  <a:pt x="4343329" y="1543584"/>
                  <a:pt x="4310500" y="1616448"/>
                  <a:pt x="4245642" y="1668494"/>
                </a:cubicBezTo>
                <a:cubicBezTo>
                  <a:pt x="4179984" y="1720540"/>
                  <a:pt x="4090305" y="1746163"/>
                  <a:pt x="3975002" y="1746964"/>
                </a:cubicBezTo>
                <a:cubicBezTo>
                  <a:pt x="3811658" y="1746964"/>
                  <a:pt x="3679540" y="1702124"/>
                  <a:pt x="3578651" y="1611644"/>
                </a:cubicBezTo>
                <a:lnTo>
                  <a:pt x="3713170" y="1419474"/>
                </a:lnTo>
                <a:cubicBezTo>
                  <a:pt x="3790038" y="1492338"/>
                  <a:pt x="3881319" y="1529171"/>
                  <a:pt x="3987814" y="1529171"/>
                </a:cubicBezTo>
                <a:cubicBezTo>
                  <a:pt x="4051070" y="1529171"/>
                  <a:pt x="4082297" y="1513957"/>
                  <a:pt x="4082297" y="1483530"/>
                </a:cubicBezTo>
                <a:cubicBezTo>
                  <a:pt x="4082297" y="1468317"/>
                  <a:pt x="4066283" y="1457908"/>
                  <a:pt x="4033454" y="1449901"/>
                </a:cubicBezTo>
                <a:cubicBezTo>
                  <a:pt x="4000625" y="1442694"/>
                  <a:pt x="3960590" y="1434687"/>
                  <a:pt x="3914148" y="1425879"/>
                </a:cubicBezTo>
                <a:cubicBezTo>
                  <a:pt x="3867707" y="1417872"/>
                  <a:pt x="3821266" y="1405061"/>
                  <a:pt x="3774825" y="1389047"/>
                </a:cubicBezTo>
                <a:cubicBezTo>
                  <a:pt x="3727583" y="1373032"/>
                  <a:pt x="3688348" y="1344207"/>
                  <a:pt x="3655519" y="1303371"/>
                </a:cubicBezTo>
                <a:cubicBezTo>
                  <a:pt x="3622690" y="1262534"/>
                  <a:pt x="3606676" y="1211289"/>
                  <a:pt x="3606676" y="1148834"/>
                </a:cubicBezTo>
                <a:cubicBezTo>
                  <a:pt x="3606676" y="1071165"/>
                  <a:pt x="3637903" y="1004706"/>
                  <a:pt x="3700359" y="949457"/>
                </a:cubicBezTo>
                <a:cubicBezTo>
                  <a:pt x="3762814" y="894208"/>
                  <a:pt x="3850092" y="866183"/>
                  <a:pt x="3960590" y="866183"/>
                </a:cubicBezTo>
                <a:close/>
                <a:moveTo>
                  <a:pt x="29906" y="837358"/>
                </a:moveTo>
                <a:cubicBezTo>
                  <a:pt x="41917" y="847767"/>
                  <a:pt x="53927" y="858176"/>
                  <a:pt x="65938" y="867785"/>
                </a:cubicBezTo>
                <a:cubicBezTo>
                  <a:pt x="105974" y="900614"/>
                  <a:pt x="149212" y="929440"/>
                  <a:pt x="193251" y="956664"/>
                </a:cubicBezTo>
                <a:cubicBezTo>
                  <a:pt x="238091" y="983087"/>
                  <a:pt x="284532" y="1007909"/>
                  <a:pt x="331774" y="1028728"/>
                </a:cubicBezTo>
                <a:cubicBezTo>
                  <a:pt x="379816" y="1050347"/>
                  <a:pt x="428660" y="1068763"/>
                  <a:pt x="479104" y="1083176"/>
                </a:cubicBezTo>
                <a:cubicBezTo>
                  <a:pt x="503926" y="1091183"/>
                  <a:pt x="529549" y="1096788"/>
                  <a:pt x="555172" y="1103194"/>
                </a:cubicBezTo>
                <a:cubicBezTo>
                  <a:pt x="567983" y="1106396"/>
                  <a:pt x="580794" y="1108799"/>
                  <a:pt x="593606" y="1111201"/>
                </a:cubicBezTo>
                <a:cubicBezTo>
                  <a:pt x="600012" y="1112802"/>
                  <a:pt x="606417" y="1114404"/>
                  <a:pt x="612823" y="1115204"/>
                </a:cubicBezTo>
                <a:lnTo>
                  <a:pt x="632040" y="1118407"/>
                </a:lnTo>
                <a:cubicBezTo>
                  <a:pt x="684086" y="1127215"/>
                  <a:pt x="736132" y="1130418"/>
                  <a:pt x="788979" y="1132019"/>
                </a:cubicBezTo>
                <a:lnTo>
                  <a:pt x="828214" y="1132019"/>
                </a:lnTo>
                <a:cubicBezTo>
                  <a:pt x="835420" y="1132019"/>
                  <a:pt x="841826" y="1132019"/>
                  <a:pt x="848232" y="1132019"/>
                </a:cubicBezTo>
                <a:lnTo>
                  <a:pt x="868249" y="1131219"/>
                </a:lnTo>
                <a:lnTo>
                  <a:pt x="907484" y="1128816"/>
                </a:lnTo>
                <a:lnTo>
                  <a:pt x="946719" y="1124813"/>
                </a:lnTo>
                <a:cubicBezTo>
                  <a:pt x="957128" y="1124012"/>
                  <a:pt x="966737" y="1123211"/>
                  <a:pt x="976345" y="1121610"/>
                </a:cubicBezTo>
                <a:lnTo>
                  <a:pt x="1092448" y="1528371"/>
                </a:lnTo>
                <a:cubicBezTo>
                  <a:pt x="1082039" y="1540381"/>
                  <a:pt x="1072430" y="1553193"/>
                  <a:pt x="1062021" y="1565203"/>
                </a:cubicBezTo>
                <a:lnTo>
                  <a:pt x="1038800" y="1595630"/>
                </a:lnTo>
                <a:cubicBezTo>
                  <a:pt x="1035598" y="1600434"/>
                  <a:pt x="1031594" y="1605239"/>
                  <a:pt x="1027591" y="1610844"/>
                </a:cubicBezTo>
                <a:lnTo>
                  <a:pt x="1016381" y="1626858"/>
                </a:lnTo>
                <a:cubicBezTo>
                  <a:pt x="1006772" y="1640470"/>
                  <a:pt x="997164" y="1654883"/>
                  <a:pt x="988356" y="1668495"/>
                </a:cubicBezTo>
                <a:cubicBezTo>
                  <a:pt x="968338" y="1620452"/>
                  <a:pt x="941915" y="1566004"/>
                  <a:pt x="908285" y="1498744"/>
                </a:cubicBezTo>
                <a:cubicBezTo>
                  <a:pt x="967537" y="1229706"/>
                  <a:pt x="839424" y="1387446"/>
                  <a:pt x="744139" y="1247321"/>
                </a:cubicBezTo>
                <a:cubicBezTo>
                  <a:pt x="668873" y="1198478"/>
                  <a:pt x="552770" y="1313780"/>
                  <a:pt x="479104" y="1295364"/>
                </a:cubicBezTo>
                <a:cubicBezTo>
                  <a:pt x="411845" y="1254528"/>
                  <a:pt x="346186" y="1355417"/>
                  <a:pt x="291738" y="1298567"/>
                </a:cubicBezTo>
                <a:cubicBezTo>
                  <a:pt x="160422" y="1212090"/>
                  <a:pt x="-4524" y="1029528"/>
                  <a:pt x="13091" y="872589"/>
                </a:cubicBezTo>
                <a:cubicBezTo>
                  <a:pt x="21899" y="861379"/>
                  <a:pt x="27504" y="849369"/>
                  <a:pt x="29906" y="837358"/>
                </a:cubicBezTo>
                <a:close/>
                <a:moveTo>
                  <a:pt x="1990844" y="697234"/>
                </a:moveTo>
                <a:cubicBezTo>
                  <a:pt x="2006859" y="707643"/>
                  <a:pt x="2022873" y="718052"/>
                  <a:pt x="2038086" y="728462"/>
                </a:cubicBezTo>
                <a:cubicBezTo>
                  <a:pt x="2042090" y="730864"/>
                  <a:pt x="2046093" y="734067"/>
                  <a:pt x="2050097" y="736469"/>
                </a:cubicBezTo>
                <a:cubicBezTo>
                  <a:pt x="2047695" y="736469"/>
                  <a:pt x="2045293" y="736469"/>
                  <a:pt x="2042890" y="736469"/>
                </a:cubicBezTo>
                <a:cubicBezTo>
                  <a:pt x="2023673" y="736469"/>
                  <a:pt x="2002855" y="733266"/>
                  <a:pt x="1996449" y="730063"/>
                </a:cubicBezTo>
                <a:cubicBezTo>
                  <a:pt x="1988442" y="725259"/>
                  <a:pt x="1988442" y="707643"/>
                  <a:pt x="1990844" y="697234"/>
                </a:cubicBezTo>
                <a:close/>
                <a:moveTo>
                  <a:pt x="1998851" y="662803"/>
                </a:moveTo>
                <a:cubicBezTo>
                  <a:pt x="2015666" y="673212"/>
                  <a:pt x="2031680" y="684422"/>
                  <a:pt x="2047694" y="694831"/>
                </a:cubicBezTo>
                <a:cubicBezTo>
                  <a:pt x="2063709" y="705241"/>
                  <a:pt x="2078922" y="714849"/>
                  <a:pt x="2093335" y="725258"/>
                </a:cubicBezTo>
                <a:cubicBezTo>
                  <a:pt x="2092534" y="727660"/>
                  <a:pt x="2090933" y="729262"/>
                  <a:pt x="2089331" y="730063"/>
                </a:cubicBezTo>
                <a:cubicBezTo>
                  <a:pt x="2084527" y="733265"/>
                  <a:pt x="2070915" y="735668"/>
                  <a:pt x="2056502" y="736468"/>
                </a:cubicBezTo>
                <a:cubicBezTo>
                  <a:pt x="2036484" y="722856"/>
                  <a:pt x="2014865" y="706842"/>
                  <a:pt x="1993246" y="690027"/>
                </a:cubicBezTo>
                <a:cubicBezTo>
                  <a:pt x="1994848" y="685223"/>
                  <a:pt x="1998050" y="676415"/>
                  <a:pt x="1998851" y="662803"/>
                </a:cubicBezTo>
                <a:close/>
                <a:moveTo>
                  <a:pt x="1996449" y="620366"/>
                </a:moveTo>
                <a:cubicBezTo>
                  <a:pt x="2014065" y="631576"/>
                  <a:pt x="2031680" y="642786"/>
                  <a:pt x="2048495" y="653996"/>
                </a:cubicBezTo>
                <a:cubicBezTo>
                  <a:pt x="2062908" y="663604"/>
                  <a:pt x="2077321" y="673213"/>
                  <a:pt x="2090933" y="682821"/>
                </a:cubicBezTo>
                <a:cubicBezTo>
                  <a:pt x="2091734" y="686825"/>
                  <a:pt x="2093335" y="689227"/>
                  <a:pt x="2093335" y="691629"/>
                </a:cubicBezTo>
                <a:cubicBezTo>
                  <a:pt x="2095737" y="698035"/>
                  <a:pt x="2097338" y="711647"/>
                  <a:pt x="2094936" y="721255"/>
                </a:cubicBezTo>
                <a:cubicBezTo>
                  <a:pt x="2065310" y="702839"/>
                  <a:pt x="2032481" y="679619"/>
                  <a:pt x="1998851" y="653195"/>
                </a:cubicBezTo>
                <a:cubicBezTo>
                  <a:pt x="1998851" y="652394"/>
                  <a:pt x="1998851" y="652394"/>
                  <a:pt x="1998851" y="651594"/>
                </a:cubicBezTo>
                <a:cubicBezTo>
                  <a:pt x="1998851" y="643587"/>
                  <a:pt x="1998050" y="631576"/>
                  <a:pt x="1996449" y="620366"/>
                </a:cubicBezTo>
                <a:close/>
                <a:moveTo>
                  <a:pt x="1990043" y="572323"/>
                </a:moveTo>
                <a:cubicBezTo>
                  <a:pt x="2017267" y="590739"/>
                  <a:pt x="2045292" y="609156"/>
                  <a:pt x="2072516" y="626771"/>
                </a:cubicBezTo>
                <a:cubicBezTo>
                  <a:pt x="2078121" y="629974"/>
                  <a:pt x="2082925" y="633978"/>
                  <a:pt x="2088530" y="637180"/>
                </a:cubicBezTo>
                <a:cubicBezTo>
                  <a:pt x="2087730" y="641985"/>
                  <a:pt x="2087730" y="647590"/>
                  <a:pt x="2087730" y="651593"/>
                </a:cubicBezTo>
                <a:cubicBezTo>
                  <a:pt x="2087730" y="662002"/>
                  <a:pt x="2088530" y="670010"/>
                  <a:pt x="2090132" y="676415"/>
                </a:cubicBezTo>
                <a:cubicBezTo>
                  <a:pt x="2060505" y="657999"/>
                  <a:pt x="2027676" y="635579"/>
                  <a:pt x="1995648" y="609156"/>
                </a:cubicBezTo>
                <a:cubicBezTo>
                  <a:pt x="1993246" y="593141"/>
                  <a:pt x="1990844" y="578729"/>
                  <a:pt x="1990844" y="577127"/>
                </a:cubicBezTo>
                <a:cubicBezTo>
                  <a:pt x="1990844" y="575526"/>
                  <a:pt x="1990043" y="573924"/>
                  <a:pt x="1990043" y="572323"/>
                </a:cubicBezTo>
                <a:close/>
                <a:moveTo>
                  <a:pt x="1990844" y="537092"/>
                </a:moveTo>
                <a:cubicBezTo>
                  <a:pt x="2014064" y="553106"/>
                  <a:pt x="2038886" y="569120"/>
                  <a:pt x="2062107" y="584334"/>
                </a:cubicBezTo>
                <a:cubicBezTo>
                  <a:pt x="2071716" y="591540"/>
                  <a:pt x="2082125" y="597946"/>
                  <a:pt x="2091733" y="604352"/>
                </a:cubicBezTo>
                <a:cubicBezTo>
                  <a:pt x="2090933" y="613960"/>
                  <a:pt x="2089331" y="623569"/>
                  <a:pt x="2088530" y="633177"/>
                </a:cubicBezTo>
                <a:cubicBezTo>
                  <a:pt x="2056502" y="611558"/>
                  <a:pt x="2022872" y="586736"/>
                  <a:pt x="1990844" y="556309"/>
                </a:cubicBezTo>
                <a:cubicBezTo>
                  <a:pt x="1990043" y="551505"/>
                  <a:pt x="1990844" y="544298"/>
                  <a:pt x="1990844" y="537092"/>
                </a:cubicBezTo>
                <a:close/>
                <a:moveTo>
                  <a:pt x="73944" y="505864"/>
                </a:moveTo>
                <a:cubicBezTo>
                  <a:pt x="93962" y="524280"/>
                  <a:pt x="114781" y="542697"/>
                  <a:pt x="136400" y="560312"/>
                </a:cubicBezTo>
                <a:cubicBezTo>
                  <a:pt x="174834" y="591540"/>
                  <a:pt x="215670" y="619565"/>
                  <a:pt x="257307" y="645187"/>
                </a:cubicBezTo>
                <a:cubicBezTo>
                  <a:pt x="341382" y="698034"/>
                  <a:pt x="432662" y="739671"/>
                  <a:pt x="527146" y="770899"/>
                </a:cubicBezTo>
                <a:cubicBezTo>
                  <a:pt x="539157" y="774102"/>
                  <a:pt x="551168" y="777305"/>
                  <a:pt x="563178" y="781308"/>
                </a:cubicBezTo>
                <a:lnTo>
                  <a:pt x="580794" y="786913"/>
                </a:lnTo>
                <a:lnTo>
                  <a:pt x="599210" y="791717"/>
                </a:lnTo>
                <a:cubicBezTo>
                  <a:pt x="612021" y="794920"/>
                  <a:pt x="624032" y="798123"/>
                  <a:pt x="636043" y="800525"/>
                </a:cubicBezTo>
                <a:lnTo>
                  <a:pt x="672875" y="807732"/>
                </a:lnTo>
                <a:cubicBezTo>
                  <a:pt x="679281" y="808532"/>
                  <a:pt x="684886" y="810134"/>
                  <a:pt x="691292" y="810934"/>
                </a:cubicBezTo>
                <a:lnTo>
                  <a:pt x="709708" y="814137"/>
                </a:lnTo>
                <a:cubicBezTo>
                  <a:pt x="721719" y="816539"/>
                  <a:pt x="733729" y="818141"/>
                  <a:pt x="746541" y="819742"/>
                </a:cubicBezTo>
                <a:lnTo>
                  <a:pt x="784174" y="823746"/>
                </a:lnTo>
                <a:cubicBezTo>
                  <a:pt x="789779" y="824547"/>
                  <a:pt x="796185" y="824547"/>
                  <a:pt x="802590" y="825347"/>
                </a:cubicBezTo>
                <a:lnTo>
                  <a:pt x="821007" y="826148"/>
                </a:lnTo>
                <a:cubicBezTo>
                  <a:pt x="844227" y="826949"/>
                  <a:pt x="868249" y="827749"/>
                  <a:pt x="891469" y="827749"/>
                </a:cubicBezTo>
                <a:lnTo>
                  <a:pt x="956327" y="1054350"/>
                </a:lnTo>
                <a:cubicBezTo>
                  <a:pt x="949921" y="1055151"/>
                  <a:pt x="944316" y="1055952"/>
                  <a:pt x="937910" y="1056752"/>
                </a:cubicBezTo>
                <a:lnTo>
                  <a:pt x="901078" y="1061557"/>
                </a:lnTo>
                <a:lnTo>
                  <a:pt x="864245" y="1063959"/>
                </a:lnTo>
                <a:lnTo>
                  <a:pt x="845829" y="1065560"/>
                </a:lnTo>
                <a:cubicBezTo>
                  <a:pt x="840224" y="1066361"/>
                  <a:pt x="833818" y="1066361"/>
                  <a:pt x="827412" y="1066361"/>
                </a:cubicBezTo>
                <a:lnTo>
                  <a:pt x="789779" y="1067162"/>
                </a:lnTo>
                <a:cubicBezTo>
                  <a:pt x="740135" y="1066361"/>
                  <a:pt x="690491" y="1064759"/>
                  <a:pt x="640847" y="1058354"/>
                </a:cubicBezTo>
                <a:lnTo>
                  <a:pt x="622431" y="1055952"/>
                </a:lnTo>
                <a:cubicBezTo>
                  <a:pt x="616025" y="1055151"/>
                  <a:pt x="610420" y="1053550"/>
                  <a:pt x="604014" y="1052749"/>
                </a:cubicBezTo>
                <a:lnTo>
                  <a:pt x="567182" y="1047144"/>
                </a:lnTo>
                <a:cubicBezTo>
                  <a:pt x="542360" y="1041539"/>
                  <a:pt x="517538" y="1037535"/>
                  <a:pt x="493516" y="1031130"/>
                </a:cubicBezTo>
                <a:cubicBezTo>
                  <a:pt x="468694" y="1025525"/>
                  <a:pt x="444673" y="1019119"/>
                  <a:pt x="420652" y="1011913"/>
                </a:cubicBezTo>
                <a:lnTo>
                  <a:pt x="384620" y="1000703"/>
                </a:lnTo>
                <a:cubicBezTo>
                  <a:pt x="373410" y="996699"/>
                  <a:pt x="361399" y="991895"/>
                  <a:pt x="349389" y="987891"/>
                </a:cubicBezTo>
                <a:cubicBezTo>
                  <a:pt x="302147" y="971076"/>
                  <a:pt x="255706" y="951059"/>
                  <a:pt x="210065" y="928639"/>
                </a:cubicBezTo>
                <a:cubicBezTo>
                  <a:pt x="164425" y="906219"/>
                  <a:pt x="120386" y="881397"/>
                  <a:pt x="77147" y="854173"/>
                </a:cubicBezTo>
                <a:cubicBezTo>
                  <a:pt x="65937" y="847767"/>
                  <a:pt x="55528" y="840561"/>
                  <a:pt x="45119" y="833354"/>
                </a:cubicBezTo>
                <a:cubicBezTo>
                  <a:pt x="41115" y="830952"/>
                  <a:pt x="36311" y="827749"/>
                  <a:pt x="32308" y="824547"/>
                </a:cubicBezTo>
                <a:cubicBezTo>
                  <a:pt x="36311" y="753283"/>
                  <a:pt x="-31749" y="674013"/>
                  <a:pt x="18695" y="610757"/>
                </a:cubicBezTo>
                <a:cubicBezTo>
                  <a:pt x="35510" y="573924"/>
                  <a:pt x="53927" y="538693"/>
                  <a:pt x="73944" y="505864"/>
                </a:cubicBezTo>
                <a:close/>
                <a:moveTo>
                  <a:pt x="1996449" y="501861"/>
                </a:moveTo>
                <a:cubicBezTo>
                  <a:pt x="2022072" y="518676"/>
                  <a:pt x="2047695" y="534690"/>
                  <a:pt x="2072517" y="551505"/>
                </a:cubicBezTo>
                <a:cubicBezTo>
                  <a:pt x="2079723" y="556309"/>
                  <a:pt x="2087730" y="561914"/>
                  <a:pt x="2094937" y="566719"/>
                </a:cubicBezTo>
                <a:cubicBezTo>
                  <a:pt x="2095737" y="566719"/>
                  <a:pt x="2095737" y="566719"/>
                  <a:pt x="2095737" y="566719"/>
                </a:cubicBezTo>
                <a:cubicBezTo>
                  <a:pt x="2097339" y="568320"/>
                  <a:pt x="2096538" y="572323"/>
                  <a:pt x="2095737" y="577128"/>
                </a:cubicBezTo>
                <a:cubicBezTo>
                  <a:pt x="2095737" y="578729"/>
                  <a:pt x="2094136" y="588338"/>
                  <a:pt x="2092534" y="600348"/>
                </a:cubicBezTo>
                <a:cubicBezTo>
                  <a:pt x="2060506" y="579530"/>
                  <a:pt x="2026076" y="554708"/>
                  <a:pt x="1991645" y="525082"/>
                </a:cubicBezTo>
                <a:cubicBezTo>
                  <a:pt x="1992446" y="513071"/>
                  <a:pt x="1994047" y="502662"/>
                  <a:pt x="1996449" y="501861"/>
                </a:cubicBezTo>
                <a:close/>
                <a:moveTo>
                  <a:pt x="2639419" y="483444"/>
                </a:moveTo>
                <a:lnTo>
                  <a:pt x="2596982" y="608355"/>
                </a:lnTo>
                <a:lnTo>
                  <a:pt x="2681857" y="608355"/>
                </a:lnTo>
                <a:close/>
                <a:moveTo>
                  <a:pt x="1178123" y="483444"/>
                </a:moveTo>
                <a:lnTo>
                  <a:pt x="1135686" y="608355"/>
                </a:lnTo>
                <a:lnTo>
                  <a:pt x="1220561" y="608355"/>
                </a:lnTo>
                <a:close/>
                <a:moveTo>
                  <a:pt x="1755435" y="473836"/>
                </a:moveTo>
                <a:lnTo>
                  <a:pt x="1755435" y="545099"/>
                </a:lnTo>
                <a:lnTo>
                  <a:pt x="1823495" y="545099"/>
                </a:lnTo>
                <a:cubicBezTo>
                  <a:pt x="1835506" y="545099"/>
                  <a:pt x="1845114" y="541896"/>
                  <a:pt x="1853121" y="535490"/>
                </a:cubicBezTo>
                <a:cubicBezTo>
                  <a:pt x="1861129" y="529085"/>
                  <a:pt x="1865132" y="520277"/>
                  <a:pt x="1865132" y="509067"/>
                </a:cubicBezTo>
                <a:cubicBezTo>
                  <a:pt x="1865132" y="498658"/>
                  <a:pt x="1861129" y="489850"/>
                  <a:pt x="1853121" y="483444"/>
                </a:cubicBezTo>
                <a:cubicBezTo>
                  <a:pt x="1845114" y="477039"/>
                  <a:pt x="1834705" y="473836"/>
                  <a:pt x="1823495" y="473836"/>
                </a:cubicBezTo>
                <a:close/>
                <a:moveTo>
                  <a:pt x="2002054" y="464227"/>
                </a:moveTo>
                <a:cubicBezTo>
                  <a:pt x="2025274" y="479440"/>
                  <a:pt x="2048495" y="494654"/>
                  <a:pt x="2071716" y="509867"/>
                </a:cubicBezTo>
                <a:cubicBezTo>
                  <a:pt x="2079723" y="514672"/>
                  <a:pt x="2086929" y="520277"/>
                  <a:pt x="2094936" y="525081"/>
                </a:cubicBezTo>
                <a:cubicBezTo>
                  <a:pt x="2096537" y="539494"/>
                  <a:pt x="2096537" y="555508"/>
                  <a:pt x="2095737" y="562714"/>
                </a:cubicBezTo>
                <a:cubicBezTo>
                  <a:pt x="2063708" y="541896"/>
                  <a:pt x="2029278" y="516273"/>
                  <a:pt x="1995648" y="486647"/>
                </a:cubicBezTo>
                <a:cubicBezTo>
                  <a:pt x="1996449" y="481042"/>
                  <a:pt x="1999652" y="473836"/>
                  <a:pt x="2002054" y="464227"/>
                </a:cubicBezTo>
                <a:close/>
                <a:moveTo>
                  <a:pt x="2013263" y="432199"/>
                </a:moveTo>
                <a:cubicBezTo>
                  <a:pt x="2036484" y="447412"/>
                  <a:pt x="2059705" y="462626"/>
                  <a:pt x="2082925" y="477839"/>
                </a:cubicBezTo>
                <a:cubicBezTo>
                  <a:pt x="2085327" y="478640"/>
                  <a:pt x="2086929" y="480242"/>
                  <a:pt x="2089331" y="481843"/>
                </a:cubicBezTo>
                <a:cubicBezTo>
                  <a:pt x="2090932" y="485847"/>
                  <a:pt x="2091733" y="488249"/>
                  <a:pt x="2091733" y="490651"/>
                </a:cubicBezTo>
                <a:cubicBezTo>
                  <a:pt x="2091733" y="495455"/>
                  <a:pt x="2093334" y="501861"/>
                  <a:pt x="2090132" y="501861"/>
                </a:cubicBezTo>
                <a:cubicBezTo>
                  <a:pt x="2091733" y="502661"/>
                  <a:pt x="2093334" y="510669"/>
                  <a:pt x="2094936" y="521878"/>
                </a:cubicBezTo>
                <a:cubicBezTo>
                  <a:pt x="2066110" y="502661"/>
                  <a:pt x="2036484" y="481042"/>
                  <a:pt x="2006057" y="455420"/>
                </a:cubicBezTo>
                <a:cubicBezTo>
                  <a:pt x="2007658" y="450615"/>
                  <a:pt x="2009260" y="445811"/>
                  <a:pt x="2010861" y="441007"/>
                </a:cubicBezTo>
                <a:cubicBezTo>
                  <a:pt x="2011662" y="437804"/>
                  <a:pt x="2012463" y="435402"/>
                  <a:pt x="2013263" y="432199"/>
                </a:cubicBezTo>
                <a:close/>
                <a:moveTo>
                  <a:pt x="2018869" y="402573"/>
                </a:moveTo>
                <a:cubicBezTo>
                  <a:pt x="2036485" y="413783"/>
                  <a:pt x="2054100" y="425794"/>
                  <a:pt x="2071716" y="437004"/>
                </a:cubicBezTo>
                <a:cubicBezTo>
                  <a:pt x="2073317" y="437804"/>
                  <a:pt x="2074118" y="438605"/>
                  <a:pt x="2075719" y="440206"/>
                </a:cubicBezTo>
                <a:cubicBezTo>
                  <a:pt x="2079723" y="453018"/>
                  <a:pt x="2084527" y="465829"/>
                  <a:pt x="2086929" y="475438"/>
                </a:cubicBezTo>
                <a:cubicBezTo>
                  <a:pt x="2063709" y="459423"/>
                  <a:pt x="2039687" y="441808"/>
                  <a:pt x="2015666" y="420989"/>
                </a:cubicBezTo>
                <a:cubicBezTo>
                  <a:pt x="2017267" y="415384"/>
                  <a:pt x="2018068" y="409779"/>
                  <a:pt x="2018869" y="404975"/>
                </a:cubicBezTo>
                <a:cubicBezTo>
                  <a:pt x="2018869" y="404174"/>
                  <a:pt x="2018869" y="403374"/>
                  <a:pt x="2018869" y="402573"/>
                </a:cubicBezTo>
                <a:close/>
                <a:moveTo>
                  <a:pt x="2585772" y="398569"/>
                </a:moveTo>
                <a:lnTo>
                  <a:pt x="2693067" y="398569"/>
                </a:lnTo>
                <a:lnTo>
                  <a:pt x="2818778" y="730063"/>
                </a:lnTo>
                <a:lnTo>
                  <a:pt x="2721892" y="730063"/>
                </a:lnTo>
                <a:lnTo>
                  <a:pt x="2705077" y="682020"/>
                </a:lnTo>
                <a:lnTo>
                  <a:pt x="2574562" y="682020"/>
                </a:lnTo>
                <a:lnTo>
                  <a:pt x="2557747" y="730063"/>
                </a:lnTo>
                <a:lnTo>
                  <a:pt x="2460861" y="730063"/>
                </a:lnTo>
                <a:close/>
                <a:moveTo>
                  <a:pt x="1669759" y="398569"/>
                </a:moveTo>
                <a:lnTo>
                  <a:pt x="1836307" y="398569"/>
                </a:lnTo>
                <a:cubicBezTo>
                  <a:pt x="1872339" y="398569"/>
                  <a:pt x="1900363" y="408978"/>
                  <a:pt x="1921182" y="429797"/>
                </a:cubicBezTo>
                <a:cubicBezTo>
                  <a:pt x="1942000" y="450615"/>
                  <a:pt x="1952410" y="477039"/>
                  <a:pt x="1952410" y="509067"/>
                </a:cubicBezTo>
                <a:cubicBezTo>
                  <a:pt x="1952410" y="535490"/>
                  <a:pt x="1945203" y="557110"/>
                  <a:pt x="1932392" y="573924"/>
                </a:cubicBezTo>
                <a:cubicBezTo>
                  <a:pt x="1919580" y="590739"/>
                  <a:pt x="1903566" y="601949"/>
                  <a:pt x="1885951" y="608355"/>
                </a:cubicBezTo>
                <a:lnTo>
                  <a:pt x="1954011" y="730864"/>
                </a:lnTo>
                <a:lnTo>
                  <a:pt x="1855524" y="730864"/>
                </a:lnTo>
                <a:lnTo>
                  <a:pt x="1799474" y="619565"/>
                </a:lnTo>
                <a:lnTo>
                  <a:pt x="1755435" y="619565"/>
                </a:lnTo>
                <a:lnTo>
                  <a:pt x="1755435" y="730063"/>
                </a:lnTo>
                <a:lnTo>
                  <a:pt x="1669759" y="730063"/>
                </a:lnTo>
                <a:close/>
                <a:moveTo>
                  <a:pt x="1381504" y="398569"/>
                </a:moveTo>
                <a:lnTo>
                  <a:pt x="1624920" y="398569"/>
                </a:lnTo>
                <a:lnTo>
                  <a:pt x="1624920" y="473035"/>
                </a:lnTo>
                <a:lnTo>
                  <a:pt x="1467180" y="473035"/>
                </a:lnTo>
                <a:lnTo>
                  <a:pt x="1467180" y="525081"/>
                </a:lnTo>
                <a:lnTo>
                  <a:pt x="1620916" y="525081"/>
                </a:lnTo>
                <a:lnTo>
                  <a:pt x="1620916" y="599547"/>
                </a:lnTo>
                <a:lnTo>
                  <a:pt x="1467180" y="599547"/>
                </a:lnTo>
                <a:lnTo>
                  <a:pt x="1467180" y="730864"/>
                </a:lnTo>
                <a:lnTo>
                  <a:pt x="1381504" y="730864"/>
                </a:lnTo>
                <a:close/>
                <a:moveTo>
                  <a:pt x="1124476" y="398569"/>
                </a:moveTo>
                <a:lnTo>
                  <a:pt x="1231771" y="398569"/>
                </a:lnTo>
                <a:lnTo>
                  <a:pt x="1357482" y="730063"/>
                </a:lnTo>
                <a:lnTo>
                  <a:pt x="1260596" y="730063"/>
                </a:lnTo>
                <a:lnTo>
                  <a:pt x="1243781" y="682020"/>
                </a:lnTo>
                <a:lnTo>
                  <a:pt x="1113266" y="682020"/>
                </a:lnTo>
                <a:lnTo>
                  <a:pt x="1096451" y="730063"/>
                </a:lnTo>
                <a:lnTo>
                  <a:pt x="999565" y="730063"/>
                </a:lnTo>
                <a:close/>
                <a:moveTo>
                  <a:pt x="2310328" y="395366"/>
                </a:moveTo>
                <a:cubicBezTo>
                  <a:pt x="2376787" y="395366"/>
                  <a:pt x="2425630" y="424992"/>
                  <a:pt x="2455256" y="484245"/>
                </a:cubicBezTo>
                <a:lnTo>
                  <a:pt x="2381591" y="518675"/>
                </a:lnTo>
                <a:cubicBezTo>
                  <a:pt x="2375986" y="505063"/>
                  <a:pt x="2366377" y="493853"/>
                  <a:pt x="2353566" y="484245"/>
                </a:cubicBezTo>
                <a:cubicBezTo>
                  <a:pt x="2339954" y="475437"/>
                  <a:pt x="2325541" y="470633"/>
                  <a:pt x="2310328" y="470633"/>
                </a:cubicBezTo>
                <a:cubicBezTo>
                  <a:pt x="2283104" y="470633"/>
                  <a:pt x="2261484" y="479441"/>
                  <a:pt x="2243869" y="497857"/>
                </a:cubicBezTo>
                <a:cubicBezTo>
                  <a:pt x="2226253" y="516273"/>
                  <a:pt x="2217445" y="538693"/>
                  <a:pt x="2217445" y="565917"/>
                </a:cubicBezTo>
                <a:cubicBezTo>
                  <a:pt x="2217445" y="593141"/>
                  <a:pt x="2226253" y="615561"/>
                  <a:pt x="2243869" y="633977"/>
                </a:cubicBezTo>
                <a:cubicBezTo>
                  <a:pt x="2261484" y="652394"/>
                  <a:pt x="2283104" y="661202"/>
                  <a:pt x="2310328" y="661202"/>
                </a:cubicBezTo>
                <a:cubicBezTo>
                  <a:pt x="2326342" y="661202"/>
                  <a:pt x="2340755" y="657198"/>
                  <a:pt x="2353566" y="647590"/>
                </a:cubicBezTo>
                <a:cubicBezTo>
                  <a:pt x="2366377" y="637981"/>
                  <a:pt x="2375986" y="626771"/>
                  <a:pt x="2381591" y="613159"/>
                </a:cubicBezTo>
                <a:lnTo>
                  <a:pt x="2455256" y="647590"/>
                </a:lnTo>
                <a:cubicBezTo>
                  <a:pt x="2442445" y="672412"/>
                  <a:pt x="2424829" y="694031"/>
                  <a:pt x="2400808" y="710846"/>
                </a:cubicBezTo>
                <a:cubicBezTo>
                  <a:pt x="2377587" y="728461"/>
                  <a:pt x="2347160" y="736468"/>
                  <a:pt x="2309527" y="738871"/>
                </a:cubicBezTo>
                <a:cubicBezTo>
                  <a:pt x="2258282" y="738871"/>
                  <a:pt x="2215844" y="722856"/>
                  <a:pt x="2181413" y="690828"/>
                </a:cubicBezTo>
                <a:cubicBezTo>
                  <a:pt x="2146983" y="658800"/>
                  <a:pt x="2130168" y="617963"/>
                  <a:pt x="2130168" y="567519"/>
                </a:cubicBezTo>
                <a:cubicBezTo>
                  <a:pt x="2130168" y="516273"/>
                  <a:pt x="2147784" y="475437"/>
                  <a:pt x="2181413" y="443409"/>
                </a:cubicBezTo>
                <a:cubicBezTo>
                  <a:pt x="2215844" y="411380"/>
                  <a:pt x="2258282" y="395366"/>
                  <a:pt x="2310328" y="395366"/>
                </a:cubicBezTo>
                <a:close/>
                <a:moveTo>
                  <a:pt x="2020470" y="377751"/>
                </a:moveTo>
                <a:cubicBezTo>
                  <a:pt x="2034883" y="387360"/>
                  <a:pt x="2048495" y="396167"/>
                  <a:pt x="2062908" y="405776"/>
                </a:cubicBezTo>
                <a:cubicBezTo>
                  <a:pt x="2064509" y="406577"/>
                  <a:pt x="2066110" y="408178"/>
                  <a:pt x="2067712" y="408979"/>
                </a:cubicBezTo>
                <a:cubicBezTo>
                  <a:pt x="2069313" y="416986"/>
                  <a:pt x="2071716" y="425794"/>
                  <a:pt x="2074118" y="433801"/>
                </a:cubicBezTo>
                <a:cubicBezTo>
                  <a:pt x="2056502" y="421790"/>
                  <a:pt x="2038086" y="408178"/>
                  <a:pt x="2020470" y="392964"/>
                </a:cubicBezTo>
                <a:cubicBezTo>
                  <a:pt x="2020470" y="387360"/>
                  <a:pt x="2020470" y="381755"/>
                  <a:pt x="2020470" y="377751"/>
                </a:cubicBezTo>
                <a:close/>
                <a:moveTo>
                  <a:pt x="2022072" y="345722"/>
                </a:moveTo>
                <a:cubicBezTo>
                  <a:pt x="2035684" y="355331"/>
                  <a:pt x="2049296" y="364138"/>
                  <a:pt x="2062908" y="372946"/>
                </a:cubicBezTo>
                <a:cubicBezTo>
                  <a:pt x="2064509" y="373747"/>
                  <a:pt x="2065310" y="374548"/>
                  <a:pt x="2066912" y="375348"/>
                </a:cubicBezTo>
                <a:cubicBezTo>
                  <a:pt x="2066111" y="376149"/>
                  <a:pt x="2066111" y="376149"/>
                  <a:pt x="2066111" y="376149"/>
                </a:cubicBezTo>
                <a:cubicBezTo>
                  <a:pt x="2066111" y="381754"/>
                  <a:pt x="2065310" y="394565"/>
                  <a:pt x="2066912" y="404174"/>
                </a:cubicBezTo>
                <a:cubicBezTo>
                  <a:pt x="2050897" y="392964"/>
                  <a:pt x="2034883" y="380953"/>
                  <a:pt x="2018869" y="367341"/>
                </a:cubicBezTo>
                <a:cubicBezTo>
                  <a:pt x="2019670" y="363338"/>
                  <a:pt x="2022072" y="358533"/>
                  <a:pt x="2022072" y="357733"/>
                </a:cubicBezTo>
                <a:cubicBezTo>
                  <a:pt x="2022072" y="356131"/>
                  <a:pt x="2022072" y="355331"/>
                  <a:pt x="2020470" y="353729"/>
                </a:cubicBezTo>
                <a:cubicBezTo>
                  <a:pt x="2018869" y="352928"/>
                  <a:pt x="2018869" y="350526"/>
                  <a:pt x="2019670" y="348124"/>
                </a:cubicBezTo>
                <a:cubicBezTo>
                  <a:pt x="2020470" y="347323"/>
                  <a:pt x="2021271" y="346523"/>
                  <a:pt x="2022072" y="345722"/>
                </a:cubicBezTo>
                <a:close/>
                <a:moveTo>
                  <a:pt x="2043691" y="344121"/>
                </a:moveTo>
                <a:cubicBezTo>
                  <a:pt x="2051699" y="344121"/>
                  <a:pt x="2059706" y="344922"/>
                  <a:pt x="2061307" y="344922"/>
                </a:cubicBezTo>
                <a:cubicBezTo>
                  <a:pt x="2062908" y="345722"/>
                  <a:pt x="2066111" y="346523"/>
                  <a:pt x="2066912" y="348925"/>
                </a:cubicBezTo>
                <a:cubicBezTo>
                  <a:pt x="2067713" y="350527"/>
                  <a:pt x="2067713" y="352929"/>
                  <a:pt x="2066111" y="354530"/>
                </a:cubicBezTo>
                <a:cubicBezTo>
                  <a:pt x="2064510" y="356132"/>
                  <a:pt x="2064510" y="357733"/>
                  <a:pt x="2064510" y="358534"/>
                </a:cubicBezTo>
                <a:cubicBezTo>
                  <a:pt x="2064510" y="360135"/>
                  <a:pt x="2068513" y="367342"/>
                  <a:pt x="2068513" y="370544"/>
                </a:cubicBezTo>
                <a:cubicBezTo>
                  <a:pt x="2068513" y="371345"/>
                  <a:pt x="2068513" y="372146"/>
                  <a:pt x="2069314" y="372947"/>
                </a:cubicBezTo>
                <a:cubicBezTo>
                  <a:pt x="2056503" y="364139"/>
                  <a:pt x="2043691" y="354530"/>
                  <a:pt x="2030880" y="344922"/>
                </a:cubicBezTo>
                <a:cubicBezTo>
                  <a:pt x="2034083" y="344121"/>
                  <a:pt x="2038887" y="344121"/>
                  <a:pt x="2043691" y="344121"/>
                </a:cubicBezTo>
                <a:close/>
                <a:moveTo>
                  <a:pt x="247699" y="283267"/>
                </a:moveTo>
                <a:cubicBezTo>
                  <a:pt x="279727" y="308890"/>
                  <a:pt x="313357" y="332911"/>
                  <a:pt x="347788" y="355331"/>
                </a:cubicBezTo>
                <a:cubicBezTo>
                  <a:pt x="426257" y="405776"/>
                  <a:pt x="510332" y="447413"/>
                  <a:pt x="599210" y="478640"/>
                </a:cubicBezTo>
                <a:cubicBezTo>
                  <a:pt x="643249" y="494654"/>
                  <a:pt x="688890" y="507466"/>
                  <a:pt x="734530" y="517875"/>
                </a:cubicBezTo>
                <a:cubicBezTo>
                  <a:pt x="780171" y="527483"/>
                  <a:pt x="826612" y="536291"/>
                  <a:pt x="873854" y="540295"/>
                </a:cubicBezTo>
                <a:cubicBezTo>
                  <a:pt x="885864" y="541096"/>
                  <a:pt x="897074" y="542697"/>
                  <a:pt x="909085" y="543498"/>
                </a:cubicBezTo>
                <a:lnTo>
                  <a:pt x="944316" y="545099"/>
                </a:lnTo>
                <a:lnTo>
                  <a:pt x="961932" y="545900"/>
                </a:lnTo>
                <a:cubicBezTo>
                  <a:pt x="967537" y="545900"/>
                  <a:pt x="973943" y="545900"/>
                  <a:pt x="979548" y="545900"/>
                </a:cubicBezTo>
                <a:lnTo>
                  <a:pt x="987555" y="545900"/>
                </a:lnTo>
                <a:lnTo>
                  <a:pt x="907484" y="759689"/>
                </a:lnTo>
                <a:cubicBezTo>
                  <a:pt x="902679" y="759689"/>
                  <a:pt x="898676" y="759689"/>
                  <a:pt x="894672" y="759689"/>
                </a:cubicBezTo>
                <a:lnTo>
                  <a:pt x="859441" y="760490"/>
                </a:lnTo>
                <a:lnTo>
                  <a:pt x="824210" y="759689"/>
                </a:lnTo>
                <a:cubicBezTo>
                  <a:pt x="728925" y="758088"/>
                  <a:pt x="634442" y="742874"/>
                  <a:pt x="542360" y="718853"/>
                </a:cubicBezTo>
                <a:cubicBezTo>
                  <a:pt x="450278" y="694031"/>
                  <a:pt x="359798" y="659601"/>
                  <a:pt x="274122" y="616362"/>
                </a:cubicBezTo>
                <a:cubicBezTo>
                  <a:pt x="230884" y="595544"/>
                  <a:pt x="188446" y="570722"/>
                  <a:pt x="147610" y="545099"/>
                </a:cubicBezTo>
                <a:cubicBezTo>
                  <a:pt x="127592" y="532288"/>
                  <a:pt x="107575" y="518676"/>
                  <a:pt x="87557" y="504263"/>
                </a:cubicBezTo>
                <a:cubicBezTo>
                  <a:pt x="84354" y="501861"/>
                  <a:pt x="81952" y="500259"/>
                  <a:pt x="78749" y="497857"/>
                </a:cubicBezTo>
                <a:cubicBezTo>
                  <a:pt x="124389" y="424993"/>
                  <a:pt x="180439" y="360936"/>
                  <a:pt x="247699" y="308890"/>
                </a:cubicBezTo>
                <a:cubicBezTo>
                  <a:pt x="246898" y="300082"/>
                  <a:pt x="246898" y="291274"/>
                  <a:pt x="247699" y="283267"/>
                </a:cubicBezTo>
                <a:close/>
                <a:moveTo>
                  <a:pt x="930352" y="48"/>
                </a:moveTo>
                <a:cubicBezTo>
                  <a:pt x="978509" y="2555"/>
                  <a:pt x="977545" y="102306"/>
                  <a:pt x="935508" y="130331"/>
                </a:cubicBezTo>
                <a:cubicBezTo>
                  <a:pt x="982750" y="209601"/>
                  <a:pt x="1101255" y="173569"/>
                  <a:pt x="1144494" y="256042"/>
                </a:cubicBezTo>
                <a:cubicBezTo>
                  <a:pt x="1369493" y="368142"/>
                  <a:pt x="1199743" y="163961"/>
                  <a:pt x="1379102" y="197590"/>
                </a:cubicBezTo>
                <a:cubicBezTo>
                  <a:pt x="1435952" y="240829"/>
                  <a:pt x="1537642" y="276861"/>
                  <a:pt x="1618514" y="263249"/>
                </a:cubicBezTo>
                <a:cubicBezTo>
                  <a:pt x="1676165" y="224815"/>
                  <a:pt x="1689777" y="270455"/>
                  <a:pt x="1703389" y="317697"/>
                </a:cubicBezTo>
                <a:cubicBezTo>
                  <a:pt x="1695382" y="320099"/>
                  <a:pt x="1688176" y="321700"/>
                  <a:pt x="1680168" y="324103"/>
                </a:cubicBezTo>
                <a:lnTo>
                  <a:pt x="1306237" y="324103"/>
                </a:lnTo>
                <a:lnTo>
                  <a:pt x="1306237" y="383355"/>
                </a:lnTo>
                <a:lnTo>
                  <a:pt x="1283817" y="324103"/>
                </a:lnTo>
                <a:lnTo>
                  <a:pt x="1072430" y="324103"/>
                </a:lnTo>
                <a:lnTo>
                  <a:pt x="1014779" y="477839"/>
                </a:lnTo>
                <a:cubicBezTo>
                  <a:pt x="1014779" y="477839"/>
                  <a:pt x="1013978" y="477839"/>
                  <a:pt x="1013978" y="477839"/>
                </a:cubicBezTo>
                <a:lnTo>
                  <a:pt x="980348" y="478640"/>
                </a:lnTo>
                <a:cubicBezTo>
                  <a:pt x="974743" y="478640"/>
                  <a:pt x="969138" y="478640"/>
                  <a:pt x="963533" y="478640"/>
                </a:cubicBezTo>
                <a:lnTo>
                  <a:pt x="946718" y="477839"/>
                </a:lnTo>
                <a:lnTo>
                  <a:pt x="913088" y="477038"/>
                </a:lnTo>
                <a:cubicBezTo>
                  <a:pt x="901878" y="476237"/>
                  <a:pt x="890669" y="475437"/>
                  <a:pt x="879459" y="474636"/>
                </a:cubicBezTo>
                <a:cubicBezTo>
                  <a:pt x="835420" y="471433"/>
                  <a:pt x="790580" y="465027"/>
                  <a:pt x="746541" y="457821"/>
                </a:cubicBezTo>
                <a:cubicBezTo>
                  <a:pt x="724922" y="453017"/>
                  <a:pt x="702502" y="449013"/>
                  <a:pt x="680883" y="443408"/>
                </a:cubicBezTo>
                <a:cubicBezTo>
                  <a:pt x="669673" y="441006"/>
                  <a:pt x="659263" y="438604"/>
                  <a:pt x="648053" y="435401"/>
                </a:cubicBezTo>
                <a:lnTo>
                  <a:pt x="615224" y="426593"/>
                </a:lnTo>
                <a:cubicBezTo>
                  <a:pt x="528748" y="401771"/>
                  <a:pt x="444673" y="367341"/>
                  <a:pt x="363802" y="325704"/>
                </a:cubicBezTo>
                <a:cubicBezTo>
                  <a:pt x="324567" y="305686"/>
                  <a:pt x="286133" y="283266"/>
                  <a:pt x="249300" y="260046"/>
                </a:cubicBezTo>
                <a:cubicBezTo>
                  <a:pt x="260510" y="200793"/>
                  <a:pt x="300545" y="170366"/>
                  <a:pt x="356595" y="130331"/>
                </a:cubicBezTo>
                <a:cubicBezTo>
                  <a:pt x="380616" y="16630"/>
                  <a:pt x="407841" y="99904"/>
                  <a:pt x="483107" y="80687"/>
                </a:cubicBezTo>
                <a:cubicBezTo>
                  <a:pt x="545563" y="111914"/>
                  <a:pt x="620829" y="14228"/>
                  <a:pt x="698498" y="19833"/>
                </a:cubicBezTo>
                <a:cubicBezTo>
                  <a:pt x="767359" y="11025"/>
                  <a:pt x="837822" y="23836"/>
                  <a:pt x="906683" y="5420"/>
                </a:cubicBezTo>
                <a:cubicBezTo>
                  <a:pt x="915591" y="1316"/>
                  <a:pt x="923473" y="-310"/>
                  <a:pt x="930352" y="48"/>
                </a:cubicBezTo>
                <a:close/>
              </a:path>
            </a:pathLst>
          </a:custGeom>
          <a:solidFill>
            <a:srgbClr val="FFFFFF"/>
          </a:solidFill>
          <a:ln w="7996" cap="flat">
            <a:noFill/>
            <a:prstDash val="solid"/>
            <a:miter/>
          </a:ln>
        </p:spPr>
        <p:txBody>
          <a:bodyPr rtlCol="0" anchor="ctr"/>
          <a:lstStyle/>
          <a:p>
            <a:endParaRPr lang="en-ZA" sz="1400"/>
          </a:p>
        </p:txBody>
      </p:sp>
      <p:sp>
        <p:nvSpPr>
          <p:cNvPr id="50" name="Graphic 6">
            <a:extLst>
              <a:ext uri="{FF2B5EF4-FFF2-40B4-BE49-F238E27FC236}">
                <a16:creationId xmlns:a16="http://schemas.microsoft.com/office/drawing/2014/main" id="{031912A8-684E-4A2E-A20F-3BEC1230EB86}"/>
              </a:ext>
            </a:extLst>
          </p:cNvPr>
          <p:cNvSpPr/>
          <p:nvPr userDrawn="1"/>
        </p:nvSpPr>
        <p:spPr>
          <a:xfrm>
            <a:off x="469594" y="507253"/>
            <a:ext cx="1848503" cy="567840"/>
          </a:xfrm>
          <a:custGeom>
            <a:avLst/>
            <a:gdLst>
              <a:gd name="connsiteX0" fmla="*/ 652241 w 1848503"/>
              <a:gd name="connsiteY0" fmla="*/ 475419 h 567840"/>
              <a:gd name="connsiteX1" fmla="*/ 565958 w 1848503"/>
              <a:gd name="connsiteY1" fmla="*/ 466645 h 567840"/>
              <a:gd name="connsiteX2" fmla="*/ 462126 w 1848503"/>
              <a:gd name="connsiteY2" fmla="*/ 478344 h 567840"/>
              <a:gd name="connsiteX3" fmla="*/ 293947 w 1848503"/>
              <a:gd name="connsiteY3" fmla="*/ 522217 h 567840"/>
              <a:gd name="connsiteX4" fmla="*/ 200352 w 1848503"/>
              <a:gd name="connsiteY4" fmla="*/ 536841 h 567840"/>
              <a:gd name="connsiteX5" fmla="*/ 168179 w 1848503"/>
              <a:gd name="connsiteY5" fmla="*/ 533916 h 567840"/>
              <a:gd name="connsiteX6" fmla="*/ 141855 w 1848503"/>
              <a:gd name="connsiteY6" fmla="*/ 526604 h 567840"/>
              <a:gd name="connsiteX7" fmla="*/ 122844 w 1848503"/>
              <a:gd name="connsiteY7" fmla="*/ 516367 h 567840"/>
              <a:gd name="connsiteX8" fmla="*/ 108219 w 1848503"/>
              <a:gd name="connsiteY8" fmla="*/ 503205 h 567840"/>
              <a:gd name="connsiteX9" fmla="*/ 97982 w 1848503"/>
              <a:gd name="connsiteY9" fmla="*/ 487119 h 567840"/>
              <a:gd name="connsiteX10" fmla="*/ 90670 w 1848503"/>
              <a:gd name="connsiteY10" fmla="*/ 469570 h 567840"/>
              <a:gd name="connsiteX11" fmla="*/ 87745 w 1848503"/>
              <a:gd name="connsiteY11" fmla="*/ 447633 h 567840"/>
              <a:gd name="connsiteX12" fmla="*/ 87745 w 1848503"/>
              <a:gd name="connsiteY12" fmla="*/ 424235 h 567840"/>
              <a:gd name="connsiteX13" fmla="*/ 96520 w 1848503"/>
              <a:gd name="connsiteY13" fmla="*/ 383287 h 567840"/>
              <a:gd name="connsiteX14" fmla="*/ 121381 w 1848503"/>
              <a:gd name="connsiteY14" fmla="*/ 320403 h 567840"/>
              <a:gd name="connsiteX15" fmla="*/ 168179 w 1848503"/>
              <a:gd name="connsiteY15" fmla="*/ 237044 h 567840"/>
              <a:gd name="connsiteX16" fmla="*/ 226676 w 1848503"/>
              <a:gd name="connsiteY16" fmla="*/ 153686 h 567840"/>
              <a:gd name="connsiteX17" fmla="*/ 280785 w 1848503"/>
              <a:gd name="connsiteY17" fmla="*/ 93727 h 567840"/>
              <a:gd name="connsiteX18" fmla="*/ 323196 w 1848503"/>
              <a:gd name="connsiteY18" fmla="*/ 57166 h 567840"/>
              <a:gd name="connsiteX19" fmla="*/ 353907 w 1848503"/>
              <a:gd name="connsiteY19" fmla="*/ 38155 h 567840"/>
              <a:gd name="connsiteX20" fmla="*/ 377305 w 1848503"/>
              <a:gd name="connsiteY20" fmla="*/ 29380 h 567840"/>
              <a:gd name="connsiteX21" fmla="*/ 396317 w 1848503"/>
              <a:gd name="connsiteY21" fmla="*/ 26455 h 567840"/>
              <a:gd name="connsiteX22" fmla="*/ 406554 w 1848503"/>
              <a:gd name="connsiteY22" fmla="*/ 29380 h 567840"/>
              <a:gd name="connsiteX23" fmla="*/ 409479 w 1848503"/>
              <a:gd name="connsiteY23" fmla="*/ 39617 h 567840"/>
              <a:gd name="connsiteX24" fmla="*/ 409479 w 1848503"/>
              <a:gd name="connsiteY24" fmla="*/ 46929 h 567840"/>
              <a:gd name="connsiteX25" fmla="*/ 383155 w 1848503"/>
              <a:gd name="connsiteY25" fmla="*/ 64478 h 567840"/>
              <a:gd name="connsiteX26" fmla="*/ 374381 w 1848503"/>
              <a:gd name="connsiteY26" fmla="*/ 73253 h 567840"/>
              <a:gd name="connsiteX27" fmla="*/ 364144 w 1848503"/>
              <a:gd name="connsiteY27" fmla="*/ 92265 h 567840"/>
              <a:gd name="connsiteX28" fmla="*/ 371456 w 1848503"/>
              <a:gd name="connsiteY28" fmla="*/ 106889 h 567840"/>
              <a:gd name="connsiteX29" fmla="*/ 409479 w 1848503"/>
              <a:gd name="connsiteY29" fmla="*/ 93727 h 567840"/>
              <a:gd name="connsiteX30" fmla="*/ 416791 w 1848503"/>
              <a:gd name="connsiteY30" fmla="*/ 83490 h 567840"/>
              <a:gd name="connsiteX31" fmla="*/ 422640 w 1848503"/>
              <a:gd name="connsiteY31" fmla="*/ 70328 h 567840"/>
              <a:gd name="connsiteX32" fmla="*/ 422640 w 1848503"/>
              <a:gd name="connsiteY32" fmla="*/ 19143 h 567840"/>
              <a:gd name="connsiteX33" fmla="*/ 413866 w 1848503"/>
              <a:gd name="connsiteY33" fmla="*/ 10369 h 567840"/>
              <a:gd name="connsiteX34" fmla="*/ 400704 w 1848503"/>
              <a:gd name="connsiteY34" fmla="*/ 4519 h 567840"/>
              <a:gd name="connsiteX35" fmla="*/ 381693 w 1848503"/>
              <a:gd name="connsiteY35" fmla="*/ 3057 h 567840"/>
              <a:gd name="connsiteX36" fmla="*/ 349519 w 1848503"/>
              <a:gd name="connsiteY36" fmla="*/ 7444 h 567840"/>
              <a:gd name="connsiteX37" fmla="*/ 307109 w 1848503"/>
              <a:gd name="connsiteY37" fmla="*/ 22068 h 567840"/>
              <a:gd name="connsiteX38" fmla="*/ 254462 w 1848503"/>
              <a:gd name="connsiteY38" fmla="*/ 51317 h 567840"/>
              <a:gd name="connsiteX39" fmla="*/ 191578 w 1848503"/>
              <a:gd name="connsiteY39" fmla="*/ 99577 h 567840"/>
              <a:gd name="connsiteX40" fmla="*/ 125768 w 1848503"/>
              <a:gd name="connsiteY40" fmla="*/ 166848 h 567840"/>
              <a:gd name="connsiteX41" fmla="*/ 30711 w 1848503"/>
              <a:gd name="connsiteY41" fmla="*/ 311628 h 567840"/>
              <a:gd name="connsiteX42" fmla="*/ 8775 w 1848503"/>
              <a:gd name="connsiteY42" fmla="*/ 368662 h 567840"/>
              <a:gd name="connsiteX43" fmla="*/ 0 w 1848503"/>
              <a:gd name="connsiteY43" fmla="*/ 413998 h 567840"/>
              <a:gd name="connsiteX44" fmla="*/ 4387 w 1848503"/>
              <a:gd name="connsiteY44" fmla="*/ 472495 h 567840"/>
              <a:gd name="connsiteX45" fmla="*/ 10237 w 1848503"/>
              <a:gd name="connsiteY45" fmla="*/ 492968 h 567840"/>
              <a:gd name="connsiteX46" fmla="*/ 19012 w 1848503"/>
              <a:gd name="connsiteY46" fmla="*/ 510518 h 567840"/>
              <a:gd name="connsiteX47" fmla="*/ 30711 w 1848503"/>
              <a:gd name="connsiteY47" fmla="*/ 526604 h 567840"/>
              <a:gd name="connsiteX48" fmla="*/ 46798 w 1848503"/>
              <a:gd name="connsiteY48" fmla="*/ 539766 h 567840"/>
              <a:gd name="connsiteX49" fmla="*/ 70196 w 1848503"/>
              <a:gd name="connsiteY49" fmla="*/ 551465 h 567840"/>
              <a:gd name="connsiteX50" fmla="*/ 102370 w 1848503"/>
              <a:gd name="connsiteY50" fmla="*/ 560240 h 567840"/>
              <a:gd name="connsiteX51" fmla="*/ 146242 w 1848503"/>
              <a:gd name="connsiteY51" fmla="*/ 563165 h 567840"/>
              <a:gd name="connsiteX52" fmla="*/ 235450 w 1848503"/>
              <a:gd name="connsiteY52" fmla="*/ 552928 h 567840"/>
              <a:gd name="connsiteX53" fmla="*/ 375843 w 1848503"/>
              <a:gd name="connsiteY53" fmla="*/ 519292 h 567840"/>
              <a:gd name="connsiteX54" fmla="*/ 466513 w 1848503"/>
              <a:gd name="connsiteY54" fmla="*/ 509055 h 567840"/>
              <a:gd name="connsiteX55" fmla="*/ 508924 w 1848503"/>
              <a:gd name="connsiteY55" fmla="*/ 511980 h 567840"/>
              <a:gd name="connsiteX56" fmla="*/ 539634 w 1848503"/>
              <a:gd name="connsiteY56" fmla="*/ 520755 h 567840"/>
              <a:gd name="connsiteX57" fmla="*/ 564496 w 1848503"/>
              <a:gd name="connsiteY57" fmla="*/ 536841 h 567840"/>
              <a:gd name="connsiteX58" fmla="*/ 590819 w 1848503"/>
              <a:gd name="connsiteY58" fmla="*/ 563165 h 567840"/>
              <a:gd name="connsiteX59" fmla="*/ 665403 w 1848503"/>
              <a:gd name="connsiteY59" fmla="*/ 530991 h 567840"/>
              <a:gd name="connsiteX60" fmla="*/ 694651 w 1848503"/>
              <a:gd name="connsiteY60" fmla="*/ 528067 h 567840"/>
              <a:gd name="connsiteX61" fmla="*/ 707813 w 1848503"/>
              <a:gd name="connsiteY61" fmla="*/ 529529 h 567840"/>
              <a:gd name="connsiteX62" fmla="*/ 732674 w 1848503"/>
              <a:gd name="connsiteY62" fmla="*/ 535379 h 567840"/>
              <a:gd name="connsiteX63" fmla="*/ 795559 w 1848503"/>
              <a:gd name="connsiteY63" fmla="*/ 558778 h 567840"/>
              <a:gd name="connsiteX64" fmla="*/ 722437 w 1848503"/>
              <a:gd name="connsiteY64" fmla="*/ 503205 h 567840"/>
              <a:gd name="connsiteX65" fmla="*/ 652241 w 1848503"/>
              <a:gd name="connsiteY65" fmla="*/ 475419 h 567840"/>
              <a:gd name="connsiteX66" fmla="*/ 960812 w 1848503"/>
              <a:gd name="connsiteY66" fmla="*/ 147837 h 567840"/>
              <a:gd name="connsiteX67" fmla="*/ 905240 w 1848503"/>
              <a:gd name="connsiteY67" fmla="*/ 147837 h 567840"/>
              <a:gd name="connsiteX68" fmla="*/ 877454 w 1848503"/>
              <a:gd name="connsiteY68" fmla="*/ 199021 h 567840"/>
              <a:gd name="connsiteX69" fmla="*/ 931564 w 1848503"/>
              <a:gd name="connsiteY69" fmla="*/ 199021 h 567840"/>
              <a:gd name="connsiteX70" fmla="*/ 960812 w 1848503"/>
              <a:gd name="connsiteY70" fmla="*/ 147837 h 567840"/>
              <a:gd name="connsiteX71" fmla="*/ 1775383 w 1848503"/>
              <a:gd name="connsiteY71" fmla="*/ 58629 h 567840"/>
              <a:gd name="connsiteX72" fmla="*/ 1708111 w 1848503"/>
              <a:gd name="connsiteY72" fmla="*/ 87877 h 567840"/>
              <a:gd name="connsiteX73" fmla="*/ 1630603 w 1848503"/>
              <a:gd name="connsiteY73" fmla="*/ 96652 h 567840"/>
              <a:gd name="connsiteX74" fmla="*/ 1582343 w 1848503"/>
              <a:gd name="connsiteY74" fmla="*/ 155149 h 567840"/>
              <a:gd name="connsiteX75" fmla="*/ 1594042 w 1848503"/>
              <a:gd name="connsiteY75" fmla="*/ 156611 h 567840"/>
              <a:gd name="connsiteX76" fmla="*/ 1617441 w 1848503"/>
              <a:gd name="connsiteY76" fmla="*/ 158074 h 567840"/>
              <a:gd name="connsiteX77" fmla="*/ 1670088 w 1848503"/>
              <a:gd name="connsiteY77" fmla="*/ 150761 h 567840"/>
              <a:gd name="connsiteX78" fmla="*/ 1781232 w 1848503"/>
              <a:gd name="connsiteY78" fmla="*/ 92265 h 567840"/>
              <a:gd name="connsiteX79" fmla="*/ 1822180 w 1848503"/>
              <a:gd name="connsiteY79" fmla="*/ 49854 h 567840"/>
              <a:gd name="connsiteX80" fmla="*/ 1848504 w 1848503"/>
              <a:gd name="connsiteY80" fmla="*/ 5982 h 567840"/>
              <a:gd name="connsiteX81" fmla="*/ 1775383 w 1848503"/>
              <a:gd name="connsiteY81" fmla="*/ 58629 h 567840"/>
              <a:gd name="connsiteX82" fmla="*/ 1712498 w 1848503"/>
              <a:gd name="connsiteY82" fmla="*/ 427159 h 567840"/>
              <a:gd name="connsiteX83" fmla="*/ 1683250 w 1848503"/>
              <a:gd name="connsiteY83" fmla="*/ 463720 h 567840"/>
              <a:gd name="connsiteX84" fmla="*/ 1662776 w 1848503"/>
              <a:gd name="connsiteY84" fmla="*/ 485656 h 567840"/>
              <a:gd name="connsiteX85" fmla="*/ 1651077 w 1848503"/>
              <a:gd name="connsiteY85" fmla="*/ 495893 h 567840"/>
              <a:gd name="connsiteX86" fmla="*/ 1643764 w 1848503"/>
              <a:gd name="connsiteY86" fmla="*/ 501743 h 567840"/>
              <a:gd name="connsiteX87" fmla="*/ 1632065 w 1848503"/>
              <a:gd name="connsiteY87" fmla="*/ 504668 h 567840"/>
              <a:gd name="connsiteX88" fmla="*/ 1627678 w 1848503"/>
              <a:gd name="connsiteY88" fmla="*/ 497356 h 567840"/>
              <a:gd name="connsiteX89" fmla="*/ 1632065 w 1848503"/>
              <a:gd name="connsiteY89" fmla="*/ 487119 h 567840"/>
              <a:gd name="connsiteX90" fmla="*/ 1652539 w 1848503"/>
              <a:gd name="connsiteY90" fmla="*/ 447633 h 567840"/>
              <a:gd name="connsiteX91" fmla="*/ 1749059 w 1848503"/>
              <a:gd name="connsiteY91" fmla="*/ 283842 h 567840"/>
              <a:gd name="connsiteX92" fmla="*/ 1702261 w 1848503"/>
              <a:gd name="connsiteY92" fmla="*/ 283842 h 567840"/>
              <a:gd name="connsiteX93" fmla="*/ 1686175 w 1848503"/>
              <a:gd name="connsiteY93" fmla="*/ 298466 h 567840"/>
              <a:gd name="connsiteX94" fmla="*/ 1670088 w 1848503"/>
              <a:gd name="connsiteY94" fmla="*/ 288229 h 567840"/>
              <a:gd name="connsiteX95" fmla="*/ 1659851 w 1848503"/>
              <a:gd name="connsiteY95" fmla="*/ 285304 h 567840"/>
              <a:gd name="connsiteX96" fmla="*/ 1651077 w 1848503"/>
              <a:gd name="connsiteY96" fmla="*/ 283842 h 567840"/>
              <a:gd name="connsiteX97" fmla="*/ 1601354 w 1848503"/>
              <a:gd name="connsiteY97" fmla="*/ 299929 h 567840"/>
              <a:gd name="connsiteX98" fmla="*/ 1583805 w 1848503"/>
              <a:gd name="connsiteY98" fmla="*/ 311628 h 567840"/>
              <a:gd name="connsiteX99" fmla="*/ 1561869 w 1848503"/>
              <a:gd name="connsiteY99" fmla="*/ 330639 h 567840"/>
              <a:gd name="connsiteX100" fmla="*/ 1526771 w 1848503"/>
              <a:gd name="connsiteY100" fmla="*/ 370125 h 567840"/>
              <a:gd name="connsiteX101" fmla="*/ 1466811 w 1848503"/>
              <a:gd name="connsiteY101" fmla="*/ 449096 h 567840"/>
              <a:gd name="connsiteX102" fmla="*/ 1431713 w 1848503"/>
              <a:gd name="connsiteY102" fmla="*/ 492968 h 567840"/>
              <a:gd name="connsiteX103" fmla="*/ 1418551 w 1848503"/>
              <a:gd name="connsiteY103" fmla="*/ 506130 h 567840"/>
              <a:gd name="connsiteX104" fmla="*/ 1411239 w 1848503"/>
              <a:gd name="connsiteY104" fmla="*/ 510518 h 567840"/>
              <a:gd name="connsiteX105" fmla="*/ 1403927 w 1848503"/>
              <a:gd name="connsiteY105" fmla="*/ 511980 h 567840"/>
              <a:gd name="connsiteX106" fmla="*/ 1393690 w 1848503"/>
              <a:gd name="connsiteY106" fmla="*/ 500281 h 567840"/>
              <a:gd name="connsiteX107" fmla="*/ 1396615 w 1848503"/>
              <a:gd name="connsiteY107" fmla="*/ 475419 h 567840"/>
              <a:gd name="connsiteX108" fmla="*/ 1406852 w 1848503"/>
              <a:gd name="connsiteY108" fmla="*/ 441784 h 567840"/>
              <a:gd name="connsiteX109" fmla="*/ 1424401 w 1848503"/>
              <a:gd name="connsiteY109" fmla="*/ 392061 h 567840"/>
              <a:gd name="connsiteX110" fmla="*/ 1523846 w 1848503"/>
              <a:gd name="connsiteY110" fmla="*/ 320403 h 567840"/>
              <a:gd name="connsiteX111" fmla="*/ 1589655 w 1848503"/>
              <a:gd name="connsiteY111" fmla="*/ 256056 h 567840"/>
              <a:gd name="connsiteX112" fmla="*/ 1648152 w 1848503"/>
              <a:gd name="connsiteY112" fmla="*/ 177085 h 567840"/>
              <a:gd name="connsiteX113" fmla="*/ 1626215 w 1848503"/>
              <a:gd name="connsiteY113" fmla="*/ 180010 h 567840"/>
              <a:gd name="connsiteX114" fmla="*/ 1579418 w 1848503"/>
              <a:gd name="connsiteY114" fmla="*/ 239969 h 567840"/>
              <a:gd name="connsiteX115" fmla="*/ 1517996 w 1848503"/>
              <a:gd name="connsiteY115" fmla="*/ 301391 h 567840"/>
              <a:gd name="connsiteX116" fmla="*/ 1444875 w 1848503"/>
              <a:gd name="connsiteY116" fmla="*/ 358426 h 567840"/>
              <a:gd name="connsiteX117" fmla="*/ 1496060 w 1848503"/>
              <a:gd name="connsiteY117" fmla="*/ 267755 h 567840"/>
              <a:gd name="connsiteX118" fmla="*/ 1551632 w 1848503"/>
              <a:gd name="connsiteY118" fmla="*/ 182935 h 567840"/>
              <a:gd name="connsiteX119" fmla="*/ 1605741 w 1848503"/>
              <a:gd name="connsiteY119" fmla="*/ 112738 h 567840"/>
              <a:gd name="connsiteX120" fmla="*/ 1649614 w 1848503"/>
              <a:gd name="connsiteY120" fmla="*/ 65941 h 567840"/>
              <a:gd name="connsiteX121" fmla="*/ 1678863 w 1848503"/>
              <a:gd name="connsiteY121" fmla="*/ 41080 h 567840"/>
              <a:gd name="connsiteX122" fmla="*/ 1694949 w 1848503"/>
              <a:gd name="connsiteY122" fmla="*/ 30843 h 567840"/>
              <a:gd name="connsiteX123" fmla="*/ 1703724 w 1848503"/>
              <a:gd name="connsiteY123" fmla="*/ 27918 h 567840"/>
              <a:gd name="connsiteX124" fmla="*/ 1708111 w 1848503"/>
              <a:gd name="connsiteY124" fmla="*/ 29380 h 567840"/>
              <a:gd name="connsiteX125" fmla="*/ 1711036 w 1848503"/>
              <a:gd name="connsiteY125" fmla="*/ 41080 h 567840"/>
              <a:gd name="connsiteX126" fmla="*/ 1708111 w 1848503"/>
              <a:gd name="connsiteY126" fmla="*/ 49854 h 567840"/>
              <a:gd name="connsiteX127" fmla="*/ 1697874 w 1848503"/>
              <a:gd name="connsiteY127" fmla="*/ 74715 h 567840"/>
              <a:gd name="connsiteX128" fmla="*/ 1716886 w 1848503"/>
              <a:gd name="connsiteY128" fmla="*/ 71791 h 567840"/>
              <a:gd name="connsiteX129" fmla="*/ 1725660 w 1848503"/>
              <a:gd name="connsiteY129" fmla="*/ 55704 h 567840"/>
              <a:gd name="connsiteX130" fmla="*/ 1728585 w 1848503"/>
              <a:gd name="connsiteY130" fmla="*/ 46929 h 567840"/>
              <a:gd name="connsiteX131" fmla="*/ 1730047 w 1848503"/>
              <a:gd name="connsiteY131" fmla="*/ 38155 h 567840"/>
              <a:gd name="connsiteX132" fmla="*/ 1719810 w 1848503"/>
              <a:gd name="connsiteY132" fmla="*/ 11831 h 567840"/>
              <a:gd name="connsiteX133" fmla="*/ 1712498 w 1848503"/>
              <a:gd name="connsiteY133" fmla="*/ 7444 h 567840"/>
              <a:gd name="connsiteX134" fmla="*/ 1681787 w 1848503"/>
              <a:gd name="connsiteY134" fmla="*/ 8906 h 567840"/>
              <a:gd name="connsiteX135" fmla="*/ 1652539 w 1848503"/>
              <a:gd name="connsiteY135" fmla="*/ 20606 h 567840"/>
              <a:gd name="connsiteX136" fmla="*/ 1613053 w 1848503"/>
              <a:gd name="connsiteY136" fmla="*/ 46929 h 567840"/>
              <a:gd name="connsiteX137" fmla="*/ 1558944 w 1848503"/>
              <a:gd name="connsiteY137" fmla="*/ 98114 h 567840"/>
              <a:gd name="connsiteX138" fmla="*/ 1491672 w 1848503"/>
              <a:gd name="connsiteY138" fmla="*/ 178547 h 567840"/>
              <a:gd name="connsiteX139" fmla="*/ 1420014 w 1848503"/>
              <a:gd name="connsiteY139" fmla="*/ 282380 h 567840"/>
              <a:gd name="connsiteX140" fmla="*/ 1358592 w 1848503"/>
              <a:gd name="connsiteY140" fmla="*/ 394986 h 567840"/>
              <a:gd name="connsiteX141" fmla="*/ 1332268 w 1848503"/>
              <a:gd name="connsiteY141" fmla="*/ 394986 h 567840"/>
              <a:gd name="connsiteX142" fmla="*/ 1345430 w 1848503"/>
              <a:gd name="connsiteY142" fmla="*/ 365738 h 567840"/>
              <a:gd name="connsiteX143" fmla="*/ 1351280 w 1848503"/>
              <a:gd name="connsiteY143" fmla="*/ 348189 h 567840"/>
              <a:gd name="connsiteX144" fmla="*/ 1349817 w 1848503"/>
              <a:gd name="connsiteY144" fmla="*/ 308703 h 567840"/>
              <a:gd name="connsiteX145" fmla="*/ 1343968 w 1848503"/>
              <a:gd name="connsiteY145" fmla="*/ 299929 h 567840"/>
              <a:gd name="connsiteX146" fmla="*/ 1317644 w 1848503"/>
              <a:gd name="connsiteY146" fmla="*/ 288229 h 567840"/>
              <a:gd name="connsiteX147" fmla="*/ 1303020 w 1848503"/>
              <a:gd name="connsiteY147" fmla="*/ 291154 h 567840"/>
              <a:gd name="connsiteX148" fmla="*/ 1282546 w 1848503"/>
              <a:gd name="connsiteY148" fmla="*/ 298466 h 567840"/>
              <a:gd name="connsiteX149" fmla="*/ 1257685 w 1848503"/>
              <a:gd name="connsiteY149" fmla="*/ 313090 h 567840"/>
              <a:gd name="connsiteX150" fmla="*/ 1226974 w 1848503"/>
              <a:gd name="connsiteY150" fmla="*/ 339414 h 567840"/>
              <a:gd name="connsiteX151" fmla="*/ 1193338 w 1848503"/>
              <a:gd name="connsiteY151" fmla="*/ 375975 h 567840"/>
              <a:gd name="connsiteX152" fmla="*/ 1142153 w 1848503"/>
              <a:gd name="connsiteY152" fmla="*/ 457870 h 567840"/>
              <a:gd name="connsiteX153" fmla="*/ 1130454 w 1848503"/>
              <a:gd name="connsiteY153" fmla="*/ 490044 h 567840"/>
              <a:gd name="connsiteX154" fmla="*/ 1126066 w 1848503"/>
              <a:gd name="connsiteY154" fmla="*/ 514905 h 567840"/>
              <a:gd name="connsiteX155" fmla="*/ 1126066 w 1848503"/>
              <a:gd name="connsiteY155" fmla="*/ 532454 h 567840"/>
              <a:gd name="connsiteX156" fmla="*/ 1130454 w 1848503"/>
              <a:gd name="connsiteY156" fmla="*/ 547078 h 567840"/>
              <a:gd name="connsiteX157" fmla="*/ 1139228 w 1848503"/>
              <a:gd name="connsiteY157" fmla="*/ 557315 h 567840"/>
              <a:gd name="connsiteX158" fmla="*/ 1150928 w 1848503"/>
              <a:gd name="connsiteY158" fmla="*/ 564627 h 567840"/>
              <a:gd name="connsiteX159" fmla="*/ 1165552 w 1848503"/>
              <a:gd name="connsiteY159" fmla="*/ 567552 h 567840"/>
              <a:gd name="connsiteX160" fmla="*/ 1197725 w 1848503"/>
              <a:gd name="connsiteY160" fmla="*/ 558778 h 567840"/>
              <a:gd name="connsiteX161" fmla="*/ 1219662 w 1848503"/>
              <a:gd name="connsiteY161" fmla="*/ 545616 h 567840"/>
              <a:gd name="connsiteX162" fmla="*/ 1247448 w 1848503"/>
              <a:gd name="connsiteY162" fmla="*/ 520755 h 567840"/>
              <a:gd name="connsiteX163" fmla="*/ 1282546 w 1848503"/>
              <a:gd name="connsiteY163" fmla="*/ 478344 h 567840"/>
              <a:gd name="connsiteX164" fmla="*/ 1324956 w 1848503"/>
              <a:gd name="connsiteY164" fmla="*/ 415460 h 567840"/>
              <a:gd name="connsiteX165" fmla="*/ 1351280 w 1848503"/>
              <a:gd name="connsiteY165" fmla="*/ 415460 h 567840"/>
              <a:gd name="connsiteX166" fmla="*/ 1329343 w 1848503"/>
              <a:gd name="connsiteY166" fmla="*/ 475419 h 567840"/>
              <a:gd name="connsiteX167" fmla="*/ 1322031 w 1848503"/>
              <a:gd name="connsiteY167" fmla="*/ 501743 h 567840"/>
              <a:gd name="connsiteX168" fmla="*/ 1319106 w 1848503"/>
              <a:gd name="connsiteY168" fmla="*/ 532454 h 567840"/>
              <a:gd name="connsiteX169" fmla="*/ 1322031 w 1848503"/>
              <a:gd name="connsiteY169" fmla="*/ 544153 h 567840"/>
              <a:gd name="connsiteX170" fmla="*/ 1326418 w 1848503"/>
              <a:gd name="connsiteY170" fmla="*/ 554390 h 567840"/>
              <a:gd name="connsiteX171" fmla="*/ 1333731 w 1848503"/>
              <a:gd name="connsiteY171" fmla="*/ 561702 h 567840"/>
              <a:gd name="connsiteX172" fmla="*/ 1343968 w 1848503"/>
              <a:gd name="connsiteY172" fmla="*/ 566090 h 567840"/>
              <a:gd name="connsiteX173" fmla="*/ 1355667 w 1848503"/>
              <a:gd name="connsiteY173" fmla="*/ 567552 h 567840"/>
              <a:gd name="connsiteX174" fmla="*/ 1401002 w 1848503"/>
              <a:gd name="connsiteY174" fmla="*/ 551465 h 567840"/>
              <a:gd name="connsiteX175" fmla="*/ 1422938 w 1848503"/>
              <a:gd name="connsiteY175" fmla="*/ 532454 h 567840"/>
              <a:gd name="connsiteX176" fmla="*/ 1452187 w 1848503"/>
              <a:gd name="connsiteY176" fmla="*/ 501743 h 567840"/>
              <a:gd name="connsiteX177" fmla="*/ 1450724 w 1848503"/>
              <a:gd name="connsiteY177" fmla="*/ 522217 h 567840"/>
              <a:gd name="connsiteX178" fmla="*/ 1452187 w 1848503"/>
              <a:gd name="connsiteY178" fmla="*/ 536841 h 567840"/>
              <a:gd name="connsiteX179" fmla="*/ 1455112 w 1848503"/>
              <a:gd name="connsiteY179" fmla="*/ 545616 h 567840"/>
              <a:gd name="connsiteX180" fmla="*/ 1458037 w 1848503"/>
              <a:gd name="connsiteY180" fmla="*/ 552928 h 567840"/>
              <a:gd name="connsiteX181" fmla="*/ 1465349 w 1848503"/>
              <a:gd name="connsiteY181" fmla="*/ 561702 h 567840"/>
              <a:gd name="connsiteX182" fmla="*/ 1481435 w 1848503"/>
              <a:gd name="connsiteY182" fmla="*/ 566090 h 567840"/>
              <a:gd name="connsiteX183" fmla="*/ 1491672 w 1848503"/>
              <a:gd name="connsiteY183" fmla="*/ 564627 h 567840"/>
              <a:gd name="connsiteX184" fmla="*/ 1515071 w 1848503"/>
              <a:gd name="connsiteY184" fmla="*/ 555853 h 567840"/>
              <a:gd name="connsiteX185" fmla="*/ 1531158 w 1848503"/>
              <a:gd name="connsiteY185" fmla="*/ 542691 h 567840"/>
              <a:gd name="connsiteX186" fmla="*/ 1556019 w 1848503"/>
              <a:gd name="connsiteY186" fmla="*/ 519292 h 567840"/>
              <a:gd name="connsiteX187" fmla="*/ 1554557 w 1848503"/>
              <a:gd name="connsiteY187" fmla="*/ 536841 h 567840"/>
              <a:gd name="connsiteX188" fmla="*/ 1556019 w 1848503"/>
              <a:gd name="connsiteY188" fmla="*/ 547078 h 567840"/>
              <a:gd name="connsiteX189" fmla="*/ 1557481 w 1848503"/>
              <a:gd name="connsiteY189" fmla="*/ 554390 h 567840"/>
              <a:gd name="connsiteX190" fmla="*/ 1569181 w 1848503"/>
              <a:gd name="connsiteY190" fmla="*/ 566090 h 567840"/>
              <a:gd name="connsiteX191" fmla="*/ 1611591 w 1848503"/>
              <a:gd name="connsiteY191" fmla="*/ 558778 h 567840"/>
              <a:gd name="connsiteX192" fmla="*/ 1632065 w 1848503"/>
              <a:gd name="connsiteY192" fmla="*/ 545616 h 567840"/>
              <a:gd name="connsiteX193" fmla="*/ 1658389 w 1848503"/>
              <a:gd name="connsiteY193" fmla="*/ 522217 h 567840"/>
              <a:gd name="connsiteX194" fmla="*/ 1690562 w 1848503"/>
              <a:gd name="connsiteY194" fmla="*/ 482731 h 567840"/>
              <a:gd name="connsiteX195" fmla="*/ 1725660 w 1848503"/>
              <a:gd name="connsiteY195" fmla="*/ 427159 h 567840"/>
              <a:gd name="connsiteX196" fmla="*/ 1712498 w 1848503"/>
              <a:gd name="connsiteY196" fmla="*/ 427159 h 567840"/>
              <a:gd name="connsiteX197" fmla="*/ 1286933 w 1848503"/>
              <a:gd name="connsiteY197" fmla="*/ 441784 h 567840"/>
              <a:gd name="connsiteX198" fmla="*/ 1264997 w 1848503"/>
              <a:gd name="connsiteY198" fmla="*/ 469570 h 567840"/>
              <a:gd name="connsiteX199" fmla="*/ 1245985 w 1848503"/>
              <a:gd name="connsiteY199" fmla="*/ 490044 h 567840"/>
              <a:gd name="connsiteX200" fmla="*/ 1231361 w 1848503"/>
              <a:gd name="connsiteY200" fmla="*/ 501743 h 567840"/>
              <a:gd name="connsiteX201" fmla="*/ 1222586 w 1848503"/>
              <a:gd name="connsiteY201" fmla="*/ 507593 h 567840"/>
              <a:gd name="connsiteX202" fmla="*/ 1216737 w 1848503"/>
              <a:gd name="connsiteY202" fmla="*/ 509055 h 567840"/>
              <a:gd name="connsiteX203" fmla="*/ 1202112 w 1848503"/>
              <a:gd name="connsiteY203" fmla="*/ 500281 h 567840"/>
              <a:gd name="connsiteX204" fmla="*/ 1199188 w 1848503"/>
              <a:gd name="connsiteY204" fmla="*/ 492968 h 567840"/>
              <a:gd name="connsiteX205" fmla="*/ 1197725 w 1848503"/>
              <a:gd name="connsiteY205" fmla="*/ 473957 h 567840"/>
              <a:gd name="connsiteX206" fmla="*/ 1200650 w 1848503"/>
              <a:gd name="connsiteY206" fmla="*/ 457870 h 567840"/>
              <a:gd name="connsiteX207" fmla="*/ 1206500 w 1848503"/>
              <a:gd name="connsiteY207" fmla="*/ 438859 h 567840"/>
              <a:gd name="connsiteX208" fmla="*/ 1257685 w 1848503"/>
              <a:gd name="connsiteY208" fmla="*/ 371587 h 567840"/>
              <a:gd name="connsiteX209" fmla="*/ 1267921 w 1848503"/>
              <a:gd name="connsiteY209" fmla="*/ 387674 h 567840"/>
              <a:gd name="connsiteX210" fmla="*/ 1275234 w 1848503"/>
              <a:gd name="connsiteY210" fmla="*/ 394986 h 567840"/>
              <a:gd name="connsiteX211" fmla="*/ 1288395 w 1848503"/>
              <a:gd name="connsiteY211" fmla="*/ 402298 h 567840"/>
              <a:gd name="connsiteX212" fmla="*/ 1308869 w 1848503"/>
              <a:gd name="connsiteY212" fmla="*/ 409610 h 567840"/>
              <a:gd name="connsiteX213" fmla="*/ 1286933 w 1848503"/>
              <a:gd name="connsiteY213" fmla="*/ 441784 h 567840"/>
              <a:gd name="connsiteX214" fmla="*/ 1332268 w 1848503"/>
              <a:gd name="connsiteY214" fmla="*/ 342339 h 567840"/>
              <a:gd name="connsiteX215" fmla="*/ 1330806 w 1848503"/>
              <a:gd name="connsiteY215" fmla="*/ 352576 h 567840"/>
              <a:gd name="connsiteX216" fmla="*/ 1326418 w 1848503"/>
              <a:gd name="connsiteY216" fmla="*/ 365738 h 567840"/>
              <a:gd name="connsiteX217" fmla="*/ 1313257 w 1848503"/>
              <a:gd name="connsiteY217" fmla="*/ 393524 h 567840"/>
              <a:gd name="connsiteX218" fmla="*/ 1297170 w 1848503"/>
              <a:gd name="connsiteY218" fmla="*/ 387674 h 567840"/>
              <a:gd name="connsiteX219" fmla="*/ 1288395 w 1848503"/>
              <a:gd name="connsiteY219" fmla="*/ 381824 h 567840"/>
              <a:gd name="connsiteX220" fmla="*/ 1284008 w 1848503"/>
              <a:gd name="connsiteY220" fmla="*/ 377437 h 567840"/>
              <a:gd name="connsiteX221" fmla="*/ 1278159 w 1848503"/>
              <a:gd name="connsiteY221" fmla="*/ 367200 h 567840"/>
              <a:gd name="connsiteX222" fmla="*/ 1297170 w 1848503"/>
              <a:gd name="connsiteY222" fmla="*/ 317478 h 567840"/>
              <a:gd name="connsiteX223" fmla="*/ 1314719 w 1848503"/>
              <a:gd name="connsiteY223" fmla="*/ 311628 h 567840"/>
              <a:gd name="connsiteX224" fmla="*/ 1329343 w 1848503"/>
              <a:gd name="connsiteY224" fmla="*/ 316015 h 567840"/>
              <a:gd name="connsiteX225" fmla="*/ 1333731 w 1848503"/>
              <a:gd name="connsiteY225" fmla="*/ 332102 h 567840"/>
              <a:gd name="connsiteX226" fmla="*/ 1332268 w 1848503"/>
              <a:gd name="connsiteY226" fmla="*/ 342339 h 567840"/>
              <a:gd name="connsiteX227" fmla="*/ 1586730 w 1848503"/>
              <a:gd name="connsiteY227" fmla="*/ 454945 h 567840"/>
              <a:gd name="connsiteX228" fmla="*/ 1566256 w 1848503"/>
              <a:gd name="connsiteY228" fmla="*/ 482731 h 567840"/>
              <a:gd name="connsiteX229" fmla="*/ 1551632 w 1848503"/>
              <a:gd name="connsiteY229" fmla="*/ 497356 h 567840"/>
              <a:gd name="connsiteX230" fmla="*/ 1541395 w 1848503"/>
              <a:gd name="connsiteY230" fmla="*/ 504668 h 567840"/>
              <a:gd name="connsiteX231" fmla="*/ 1523846 w 1848503"/>
              <a:gd name="connsiteY231" fmla="*/ 504668 h 567840"/>
              <a:gd name="connsiteX232" fmla="*/ 1520921 w 1848503"/>
              <a:gd name="connsiteY232" fmla="*/ 490044 h 567840"/>
              <a:gd name="connsiteX233" fmla="*/ 1522383 w 1848503"/>
              <a:gd name="connsiteY233" fmla="*/ 478344 h 567840"/>
              <a:gd name="connsiteX234" fmla="*/ 1526771 w 1848503"/>
              <a:gd name="connsiteY234" fmla="*/ 463720 h 567840"/>
              <a:gd name="connsiteX235" fmla="*/ 1535545 w 1848503"/>
              <a:gd name="connsiteY235" fmla="*/ 444709 h 567840"/>
              <a:gd name="connsiteX236" fmla="*/ 1550169 w 1848503"/>
              <a:gd name="connsiteY236" fmla="*/ 419847 h 567840"/>
              <a:gd name="connsiteX237" fmla="*/ 1572106 w 1848503"/>
              <a:gd name="connsiteY237" fmla="*/ 389136 h 567840"/>
              <a:gd name="connsiteX238" fmla="*/ 1598429 w 1848503"/>
              <a:gd name="connsiteY238" fmla="*/ 358426 h 567840"/>
              <a:gd name="connsiteX239" fmla="*/ 1623291 w 1848503"/>
              <a:gd name="connsiteY239" fmla="*/ 333564 h 567840"/>
              <a:gd name="connsiteX240" fmla="*/ 1640840 w 1848503"/>
              <a:gd name="connsiteY240" fmla="*/ 320403 h 567840"/>
              <a:gd name="connsiteX241" fmla="*/ 1651077 w 1848503"/>
              <a:gd name="connsiteY241" fmla="*/ 314553 h 567840"/>
              <a:gd name="connsiteX242" fmla="*/ 1656926 w 1848503"/>
              <a:gd name="connsiteY242" fmla="*/ 313090 h 567840"/>
              <a:gd name="connsiteX243" fmla="*/ 1665701 w 1848503"/>
              <a:gd name="connsiteY243" fmla="*/ 314553 h 567840"/>
              <a:gd name="connsiteX244" fmla="*/ 1665701 w 1848503"/>
              <a:gd name="connsiteY244" fmla="*/ 326252 h 567840"/>
              <a:gd name="connsiteX245" fmla="*/ 1661314 w 1848503"/>
              <a:gd name="connsiteY245" fmla="*/ 336489 h 567840"/>
              <a:gd name="connsiteX246" fmla="*/ 1654001 w 1848503"/>
              <a:gd name="connsiteY246" fmla="*/ 349651 h 567840"/>
              <a:gd name="connsiteX247" fmla="*/ 1586730 w 1848503"/>
              <a:gd name="connsiteY247" fmla="*/ 454945 h 567840"/>
              <a:gd name="connsiteX248" fmla="*/ 1159702 w 1848503"/>
              <a:gd name="connsiteY248" fmla="*/ 362813 h 567840"/>
              <a:gd name="connsiteX249" fmla="*/ 1165552 w 1848503"/>
              <a:gd name="connsiteY249" fmla="*/ 329177 h 567840"/>
              <a:gd name="connsiteX250" fmla="*/ 1164089 w 1848503"/>
              <a:gd name="connsiteY250" fmla="*/ 305778 h 567840"/>
              <a:gd name="connsiteX251" fmla="*/ 1161165 w 1848503"/>
              <a:gd name="connsiteY251" fmla="*/ 298466 h 567840"/>
              <a:gd name="connsiteX252" fmla="*/ 1149465 w 1848503"/>
              <a:gd name="connsiteY252" fmla="*/ 288229 h 567840"/>
              <a:gd name="connsiteX253" fmla="*/ 1140691 w 1848503"/>
              <a:gd name="connsiteY253" fmla="*/ 285304 h 567840"/>
              <a:gd name="connsiteX254" fmla="*/ 1127529 w 1848503"/>
              <a:gd name="connsiteY254" fmla="*/ 283842 h 567840"/>
              <a:gd name="connsiteX255" fmla="*/ 1111442 w 1848503"/>
              <a:gd name="connsiteY255" fmla="*/ 285304 h 567840"/>
              <a:gd name="connsiteX256" fmla="*/ 1042708 w 1848503"/>
              <a:gd name="connsiteY256" fmla="*/ 327715 h 567840"/>
              <a:gd name="connsiteX257" fmla="*/ 1025159 w 1848503"/>
              <a:gd name="connsiteY257" fmla="*/ 351113 h 567840"/>
              <a:gd name="connsiteX258" fmla="*/ 1007610 w 1848503"/>
              <a:gd name="connsiteY258" fmla="*/ 381824 h 567840"/>
              <a:gd name="connsiteX259" fmla="*/ 992986 w 1848503"/>
              <a:gd name="connsiteY259" fmla="*/ 418385 h 567840"/>
              <a:gd name="connsiteX260" fmla="*/ 982749 w 1848503"/>
              <a:gd name="connsiteY260" fmla="*/ 457870 h 567840"/>
              <a:gd name="connsiteX261" fmla="*/ 1016385 w 1848503"/>
              <a:gd name="connsiteY261" fmla="*/ 431547 h 567840"/>
              <a:gd name="connsiteX262" fmla="*/ 1038321 w 1848503"/>
              <a:gd name="connsiteY262" fmla="*/ 416922 h 567840"/>
              <a:gd name="connsiteX263" fmla="*/ 1064645 w 1848503"/>
              <a:gd name="connsiteY263" fmla="*/ 403761 h 567840"/>
              <a:gd name="connsiteX264" fmla="*/ 1079269 w 1848503"/>
              <a:gd name="connsiteY264" fmla="*/ 361350 h 567840"/>
              <a:gd name="connsiteX265" fmla="*/ 1088043 w 1848503"/>
              <a:gd name="connsiteY265" fmla="*/ 345264 h 567840"/>
              <a:gd name="connsiteX266" fmla="*/ 1096818 w 1848503"/>
              <a:gd name="connsiteY266" fmla="*/ 333564 h 567840"/>
              <a:gd name="connsiteX267" fmla="*/ 1118754 w 1848503"/>
              <a:gd name="connsiteY267" fmla="*/ 316015 h 567840"/>
              <a:gd name="connsiteX268" fmla="*/ 1146540 w 1848503"/>
              <a:gd name="connsiteY268" fmla="*/ 318940 h 567840"/>
              <a:gd name="connsiteX269" fmla="*/ 1150928 w 1848503"/>
              <a:gd name="connsiteY269" fmla="*/ 332102 h 567840"/>
              <a:gd name="connsiteX270" fmla="*/ 1140691 w 1848503"/>
              <a:gd name="connsiteY270" fmla="*/ 384749 h 567840"/>
              <a:gd name="connsiteX271" fmla="*/ 1128991 w 1848503"/>
              <a:gd name="connsiteY271" fmla="*/ 411073 h 567840"/>
              <a:gd name="connsiteX272" fmla="*/ 1111442 w 1848503"/>
              <a:gd name="connsiteY272" fmla="*/ 438859 h 567840"/>
              <a:gd name="connsiteX273" fmla="*/ 1057332 w 1848503"/>
              <a:gd name="connsiteY273" fmla="*/ 494431 h 567840"/>
              <a:gd name="connsiteX274" fmla="*/ 1001760 w 1848503"/>
              <a:gd name="connsiteY274" fmla="*/ 526604 h 567840"/>
              <a:gd name="connsiteX275" fmla="*/ 984211 w 1848503"/>
              <a:gd name="connsiteY275" fmla="*/ 529529 h 567840"/>
              <a:gd name="connsiteX276" fmla="*/ 969587 w 1848503"/>
              <a:gd name="connsiteY276" fmla="*/ 528067 h 567840"/>
              <a:gd name="connsiteX277" fmla="*/ 944726 w 1848503"/>
              <a:gd name="connsiteY277" fmla="*/ 510518 h 567840"/>
              <a:gd name="connsiteX278" fmla="*/ 935951 w 1848503"/>
              <a:gd name="connsiteY278" fmla="*/ 495893 h 567840"/>
              <a:gd name="connsiteX279" fmla="*/ 931564 w 1848503"/>
              <a:gd name="connsiteY279" fmla="*/ 463720 h 567840"/>
              <a:gd name="connsiteX280" fmla="*/ 943263 w 1848503"/>
              <a:gd name="connsiteY280" fmla="*/ 419847 h 567840"/>
              <a:gd name="connsiteX281" fmla="*/ 979824 w 1848503"/>
              <a:gd name="connsiteY281" fmla="*/ 337952 h 567840"/>
              <a:gd name="connsiteX282" fmla="*/ 1038321 w 1848503"/>
              <a:gd name="connsiteY282" fmla="*/ 238507 h 567840"/>
              <a:gd name="connsiteX283" fmla="*/ 1096818 w 1848503"/>
              <a:gd name="connsiteY283" fmla="*/ 159536 h 567840"/>
              <a:gd name="connsiteX284" fmla="*/ 1142153 w 1848503"/>
              <a:gd name="connsiteY284" fmla="*/ 106889 h 567840"/>
              <a:gd name="connsiteX285" fmla="*/ 1180176 w 1848503"/>
              <a:gd name="connsiteY285" fmla="*/ 73253 h 567840"/>
              <a:gd name="connsiteX286" fmla="*/ 1210887 w 1848503"/>
              <a:gd name="connsiteY286" fmla="*/ 52779 h 567840"/>
              <a:gd name="connsiteX287" fmla="*/ 1235748 w 1848503"/>
              <a:gd name="connsiteY287" fmla="*/ 41080 h 567840"/>
              <a:gd name="connsiteX288" fmla="*/ 1294245 w 1848503"/>
              <a:gd name="connsiteY288" fmla="*/ 33768 h 567840"/>
              <a:gd name="connsiteX289" fmla="*/ 1250372 w 1848503"/>
              <a:gd name="connsiteY289" fmla="*/ 63016 h 567840"/>
              <a:gd name="connsiteX290" fmla="*/ 1190413 w 1848503"/>
              <a:gd name="connsiteY290" fmla="*/ 125900 h 567840"/>
              <a:gd name="connsiteX291" fmla="*/ 1174326 w 1848503"/>
              <a:gd name="connsiteY291" fmla="*/ 152224 h 567840"/>
              <a:gd name="connsiteX292" fmla="*/ 1165552 w 1848503"/>
              <a:gd name="connsiteY292" fmla="*/ 175623 h 567840"/>
              <a:gd name="connsiteX293" fmla="*/ 1161165 w 1848503"/>
              <a:gd name="connsiteY293" fmla="*/ 194634 h 567840"/>
              <a:gd name="connsiteX294" fmla="*/ 1161165 w 1848503"/>
              <a:gd name="connsiteY294" fmla="*/ 207796 h 567840"/>
              <a:gd name="connsiteX295" fmla="*/ 1164089 w 1848503"/>
              <a:gd name="connsiteY295" fmla="*/ 216570 h 567840"/>
              <a:gd name="connsiteX296" fmla="*/ 1168477 w 1848503"/>
              <a:gd name="connsiteY296" fmla="*/ 223883 h 567840"/>
              <a:gd name="connsiteX297" fmla="*/ 1174326 w 1848503"/>
              <a:gd name="connsiteY297" fmla="*/ 229732 h 567840"/>
              <a:gd name="connsiteX298" fmla="*/ 1183101 w 1848503"/>
              <a:gd name="connsiteY298" fmla="*/ 232657 h 567840"/>
              <a:gd name="connsiteX299" fmla="*/ 1194800 w 1848503"/>
              <a:gd name="connsiteY299" fmla="*/ 234120 h 567840"/>
              <a:gd name="connsiteX300" fmla="*/ 1221124 w 1848503"/>
              <a:gd name="connsiteY300" fmla="*/ 226807 h 567840"/>
              <a:gd name="connsiteX301" fmla="*/ 1238673 w 1848503"/>
              <a:gd name="connsiteY301" fmla="*/ 216570 h 567840"/>
              <a:gd name="connsiteX302" fmla="*/ 1259147 w 1848503"/>
              <a:gd name="connsiteY302" fmla="*/ 199021 h 567840"/>
              <a:gd name="connsiteX303" fmla="*/ 1279621 w 1848503"/>
              <a:gd name="connsiteY303" fmla="*/ 174160 h 567840"/>
              <a:gd name="connsiteX304" fmla="*/ 1298632 w 1848503"/>
              <a:gd name="connsiteY304" fmla="*/ 144912 h 567840"/>
              <a:gd name="connsiteX305" fmla="*/ 1320569 w 1848503"/>
              <a:gd name="connsiteY305" fmla="*/ 90802 h 567840"/>
              <a:gd name="connsiteX306" fmla="*/ 1324956 w 1848503"/>
              <a:gd name="connsiteY306" fmla="*/ 68866 h 567840"/>
              <a:gd name="connsiteX307" fmla="*/ 1324956 w 1848503"/>
              <a:gd name="connsiteY307" fmla="*/ 61554 h 567840"/>
              <a:gd name="connsiteX308" fmla="*/ 1324956 w 1848503"/>
              <a:gd name="connsiteY308" fmla="*/ 48392 h 567840"/>
              <a:gd name="connsiteX309" fmla="*/ 1324956 w 1848503"/>
              <a:gd name="connsiteY309" fmla="*/ 39617 h 567840"/>
              <a:gd name="connsiteX310" fmla="*/ 1377603 w 1848503"/>
              <a:gd name="connsiteY310" fmla="*/ 45467 h 567840"/>
              <a:gd name="connsiteX311" fmla="*/ 1431713 w 1848503"/>
              <a:gd name="connsiteY311" fmla="*/ 70328 h 567840"/>
              <a:gd name="connsiteX312" fmla="*/ 1510684 w 1848503"/>
              <a:gd name="connsiteY312" fmla="*/ 128825 h 567840"/>
              <a:gd name="connsiteX313" fmla="*/ 1563331 w 1848503"/>
              <a:gd name="connsiteY313" fmla="*/ 74715 h 567840"/>
              <a:gd name="connsiteX314" fmla="*/ 1512146 w 1848503"/>
              <a:gd name="connsiteY314" fmla="*/ 35230 h 567840"/>
              <a:gd name="connsiteX315" fmla="*/ 1471198 w 1848503"/>
              <a:gd name="connsiteY315" fmla="*/ 13294 h 567840"/>
              <a:gd name="connsiteX316" fmla="*/ 1439025 w 1848503"/>
              <a:gd name="connsiteY316" fmla="*/ 3057 h 567840"/>
              <a:gd name="connsiteX317" fmla="*/ 1395152 w 1848503"/>
              <a:gd name="connsiteY317" fmla="*/ 1594 h 567840"/>
              <a:gd name="connsiteX318" fmla="*/ 1371754 w 1848503"/>
              <a:gd name="connsiteY318" fmla="*/ 5982 h 567840"/>
              <a:gd name="connsiteX319" fmla="*/ 1324956 w 1848503"/>
              <a:gd name="connsiteY319" fmla="*/ 20606 h 567840"/>
              <a:gd name="connsiteX320" fmla="*/ 1298632 w 1848503"/>
              <a:gd name="connsiteY320" fmla="*/ 5982 h 567840"/>
              <a:gd name="connsiteX321" fmla="*/ 1282546 w 1848503"/>
              <a:gd name="connsiteY321" fmla="*/ 1594 h 567840"/>
              <a:gd name="connsiteX322" fmla="*/ 1228436 w 1848503"/>
              <a:gd name="connsiteY322" fmla="*/ 7444 h 567840"/>
              <a:gd name="connsiteX323" fmla="*/ 1172864 w 1848503"/>
              <a:gd name="connsiteY323" fmla="*/ 30843 h 567840"/>
              <a:gd name="connsiteX324" fmla="*/ 1099743 w 1848503"/>
              <a:gd name="connsiteY324" fmla="*/ 77640 h 567840"/>
              <a:gd name="connsiteX325" fmla="*/ 1023697 w 1848503"/>
              <a:gd name="connsiteY325" fmla="*/ 143449 h 567840"/>
              <a:gd name="connsiteX326" fmla="*/ 957888 w 1848503"/>
              <a:gd name="connsiteY326" fmla="*/ 218033 h 567840"/>
              <a:gd name="connsiteX327" fmla="*/ 911090 w 1848503"/>
              <a:gd name="connsiteY327" fmla="*/ 288229 h 567840"/>
              <a:gd name="connsiteX328" fmla="*/ 880379 w 1848503"/>
              <a:gd name="connsiteY328" fmla="*/ 351113 h 567840"/>
              <a:gd name="connsiteX329" fmla="*/ 862830 w 1848503"/>
              <a:gd name="connsiteY329" fmla="*/ 405223 h 567840"/>
              <a:gd name="connsiteX330" fmla="*/ 855518 w 1848503"/>
              <a:gd name="connsiteY330" fmla="*/ 450558 h 567840"/>
              <a:gd name="connsiteX331" fmla="*/ 855518 w 1848503"/>
              <a:gd name="connsiteY331" fmla="*/ 482731 h 567840"/>
              <a:gd name="connsiteX332" fmla="*/ 862830 w 1848503"/>
              <a:gd name="connsiteY332" fmla="*/ 509055 h 567840"/>
              <a:gd name="connsiteX333" fmla="*/ 875992 w 1848503"/>
              <a:gd name="connsiteY333" fmla="*/ 532454 h 567840"/>
              <a:gd name="connsiteX334" fmla="*/ 896466 w 1848503"/>
              <a:gd name="connsiteY334" fmla="*/ 551465 h 567840"/>
              <a:gd name="connsiteX335" fmla="*/ 921327 w 1848503"/>
              <a:gd name="connsiteY335" fmla="*/ 563165 h 567840"/>
              <a:gd name="connsiteX336" fmla="*/ 979824 w 1848503"/>
              <a:gd name="connsiteY336" fmla="*/ 563165 h 567840"/>
              <a:gd name="connsiteX337" fmla="*/ 1016385 w 1848503"/>
              <a:gd name="connsiteY337" fmla="*/ 547078 h 567840"/>
              <a:gd name="connsiteX338" fmla="*/ 1098280 w 1848503"/>
              <a:gd name="connsiteY338" fmla="*/ 479807 h 567840"/>
              <a:gd name="connsiteX339" fmla="*/ 1150928 w 1848503"/>
              <a:gd name="connsiteY339" fmla="*/ 397911 h 567840"/>
              <a:gd name="connsiteX340" fmla="*/ 1159702 w 1848503"/>
              <a:gd name="connsiteY340" fmla="*/ 362813 h 567840"/>
              <a:gd name="connsiteX341" fmla="*/ 1301557 w 1848503"/>
              <a:gd name="connsiteY341" fmla="*/ 49854 h 567840"/>
              <a:gd name="connsiteX342" fmla="*/ 1295708 w 1848503"/>
              <a:gd name="connsiteY342" fmla="*/ 82028 h 567840"/>
              <a:gd name="connsiteX343" fmla="*/ 1282546 w 1848503"/>
              <a:gd name="connsiteY343" fmla="*/ 120051 h 567840"/>
              <a:gd name="connsiteX344" fmla="*/ 1266459 w 1848503"/>
              <a:gd name="connsiteY344" fmla="*/ 155149 h 567840"/>
              <a:gd name="connsiteX345" fmla="*/ 1250372 w 1848503"/>
              <a:gd name="connsiteY345" fmla="*/ 180010 h 567840"/>
              <a:gd name="connsiteX346" fmla="*/ 1215274 w 1848503"/>
              <a:gd name="connsiteY346" fmla="*/ 210721 h 567840"/>
              <a:gd name="connsiteX347" fmla="*/ 1183101 w 1848503"/>
              <a:gd name="connsiteY347" fmla="*/ 210721 h 567840"/>
              <a:gd name="connsiteX348" fmla="*/ 1177251 w 1848503"/>
              <a:gd name="connsiteY348" fmla="*/ 201946 h 567840"/>
              <a:gd name="connsiteX349" fmla="*/ 1183101 w 1848503"/>
              <a:gd name="connsiteY349" fmla="*/ 168311 h 567840"/>
              <a:gd name="connsiteX350" fmla="*/ 1191875 w 1848503"/>
              <a:gd name="connsiteY350" fmla="*/ 150761 h 567840"/>
              <a:gd name="connsiteX351" fmla="*/ 1206500 w 1848503"/>
              <a:gd name="connsiteY351" fmla="*/ 130288 h 567840"/>
              <a:gd name="connsiteX352" fmla="*/ 1229898 w 1848503"/>
              <a:gd name="connsiteY352" fmla="*/ 105426 h 567840"/>
              <a:gd name="connsiteX353" fmla="*/ 1263534 w 1848503"/>
              <a:gd name="connsiteY353" fmla="*/ 76178 h 567840"/>
              <a:gd name="connsiteX354" fmla="*/ 1301557 w 1848503"/>
              <a:gd name="connsiteY354" fmla="*/ 49854 h 567840"/>
              <a:gd name="connsiteX355" fmla="*/ 786784 w 1848503"/>
              <a:gd name="connsiteY355" fmla="*/ 335027 h 567840"/>
              <a:gd name="connsiteX356" fmla="*/ 769235 w 1848503"/>
              <a:gd name="connsiteY356" fmla="*/ 354038 h 567840"/>
              <a:gd name="connsiteX357" fmla="*/ 761923 w 1848503"/>
              <a:gd name="connsiteY357" fmla="*/ 359888 h 567840"/>
              <a:gd name="connsiteX358" fmla="*/ 750223 w 1848503"/>
              <a:gd name="connsiteY358" fmla="*/ 362813 h 567840"/>
              <a:gd name="connsiteX359" fmla="*/ 744374 w 1848503"/>
              <a:gd name="connsiteY359" fmla="*/ 356963 h 567840"/>
              <a:gd name="connsiteX360" fmla="*/ 745836 w 1848503"/>
              <a:gd name="connsiteY360" fmla="*/ 349651 h 567840"/>
              <a:gd name="connsiteX361" fmla="*/ 754611 w 1848503"/>
              <a:gd name="connsiteY361" fmla="*/ 332102 h 567840"/>
              <a:gd name="connsiteX362" fmla="*/ 778009 w 1848503"/>
              <a:gd name="connsiteY362" fmla="*/ 286767 h 567840"/>
              <a:gd name="connsiteX363" fmla="*/ 859905 w 1848503"/>
              <a:gd name="connsiteY363" fmla="*/ 147837 h 567840"/>
              <a:gd name="connsiteX364" fmla="*/ 808720 w 1848503"/>
              <a:gd name="connsiteY364" fmla="*/ 147837 h 567840"/>
              <a:gd name="connsiteX365" fmla="*/ 798483 w 1848503"/>
              <a:gd name="connsiteY365" fmla="*/ 159536 h 567840"/>
              <a:gd name="connsiteX366" fmla="*/ 779472 w 1848503"/>
              <a:gd name="connsiteY366" fmla="*/ 149299 h 567840"/>
              <a:gd name="connsiteX367" fmla="*/ 767773 w 1848503"/>
              <a:gd name="connsiteY367" fmla="*/ 146374 h 567840"/>
              <a:gd name="connsiteX368" fmla="*/ 757536 w 1848503"/>
              <a:gd name="connsiteY368" fmla="*/ 144912 h 567840"/>
              <a:gd name="connsiteX369" fmla="*/ 718050 w 1848503"/>
              <a:gd name="connsiteY369" fmla="*/ 156611 h 567840"/>
              <a:gd name="connsiteX370" fmla="*/ 697576 w 1848503"/>
              <a:gd name="connsiteY370" fmla="*/ 171235 h 567840"/>
              <a:gd name="connsiteX371" fmla="*/ 661016 w 1848503"/>
              <a:gd name="connsiteY371" fmla="*/ 206334 h 567840"/>
              <a:gd name="connsiteX372" fmla="*/ 593744 w 1848503"/>
              <a:gd name="connsiteY372" fmla="*/ 285304 h 567840"/>
              <a:gd name="connsiteX373" fmla="*/ 541097 w 1848503"/>
              <a:gd name="connsiteY373" fmla="*/ 345264 h 567840"/>
              <a:gd name="connsiteX374" fmla="*/ 514773 w 1848503"/>
              <a:gd name="connsiteY374" fmla="*/ 368662 h 567840"/>
              <a:gd name="connsiteX375" fmla="*/ 500149 w 1848503"/>
              <a:gd name="connsiteY375" fmla="*/ 377437 h 567840"/>
              <a:gd name="connsiteX376" fmla="*/ 491374 w 1848503"/>
              <a:gd name="connsiteY376" fmla="*/ 383287 h 567840"/>
              <a:gd name="connsiteX377" fmla="*/ 466513 w 1848503"/>
              <a:gd name="connsiteY377" fmla="*/ 380362 h 567840"/>
              <a:gd name="connsiteX378" fmla="*/ 460664 w 1848503"/>
              <a:gd name="connsiteY378" fmla="*/ 370125 h 567840"/>
              <a:gd name="connsiteX379" fmla="*/ 462126 w 1848503"/>
              <a:gd name="connsiteY379" fmla="*/ 342339 h 567840"/>
              <a:gd name="connsiteX380" fmla="*/ 467976 w 1848503"/>
              <a:gd name="connsiteY380" fmla="*/ 323327 h 567840"/>
              <a:gd name="connsiteX381" fmla="*/ 479675 w 1848503"/>
              <a:gd name="connsiteY381" fmla="*/ 298466 h 567840"/>
              <a:gd name="connsiteX382" fmla="*/ 498687 w 1848503"/>
              <a:gd name="connsiteY382" fmla="*/ 266293 h 567840"/>
              <a:gd name="connsiteX383" fmla="*/ 554259 w 1848503"/>
              <a:gd name="connsiteY383" fmla="*/ 200484 h 567840"/>
              <a:gd name="connsiteX384" fmla="*/ 576195 w 1848503"/>
              <a:gd name="connsiteY384" fmla="*/ 182935 h 567840"/>
              <a:gd name="connsiteX385" fmla="*/ 587894 w 1848503"/>
              <a:gd name="connsiteY385" fmla="*/ 175623 h 567840"/>
              <a:gd name="connsiteX386" fmla="*/ 595206 w 1848503"/>
              <a:gd name="connsiteY386" fmla="*/ 174160 h 567840"/>
              <a:gd name="connsiteX387" fmla="*/ 602519 w 1848503"/>
              <a:gd name="connsiteY387" fmla="*/ 177085 h 567840"/>
              <a:gd name="connsiteX388" fmla="*/ 606906 w 1848503"/>
              <a:gd name="connsiteY388" fmla="*/ 185860 h 567840"/>
              <a:gd name="connsiteX389" fmla="*/ 606906 w 1848503"/>
              <a:gd name="connsiteY389" fmla="*/ 193172 h 567840"/>
              <a:gd name="connsiteX390" fmla="*/ 593744 w 1848503"/>
              <a:gd name="connsiteY390" fmla="*/ 196097 h 567840"/>
              <a:gd name="connsiteX391" fmla="*/ 584970 w 1848503"/>
              <a:gd name="connsiteY391" fmla="*/ 200484 h 567840"/>
              <a:gd name="connsiteX392" fmla="*/ 579120 w 1848503"/>
              <a:gd name="connsiteY392" fmla="*/ 204871 h 567840"/>
              <a:gd name="connsiteX393" fmla="*/ 565958 w 1848503"/>
              <a:gd name="connsiteY393" fmla="*/ 232657 h 567840"/>
              <a:gd name="connsiteX394" fmla="*/ 571808 w 1848503"/>
              <a:gd name="connsiteY394" fmla="*/ 242894 h 567840"/>
              <a:gd name="connsiteX395" fmla="*/ 605443 w 1848503"/>
              <a:gd name="connsiteY395" fmla="*/ 231195 h 567840"/>
              <a:gd name="connsiteX396" fmla="*/ 611293 w 1848503"/>
              <a:gd name="connsiteY396" fmla="*/ 222420 h 567840"/>
              <a:gd name="connsiteX397" fmla="*/ 624455 w 1848503"/>
              <a:gd name="connsiteY397" fmla="*/ 193172 h 567840"/>
              <a:gd name="connsiteX398" fmla="*/ 611293 w 1848503"/>
              <a:gd name="connsiteY398" fmla="*/ 150761 h 567840"/>
              <a:gd name="connsiteX399" fmla="*/ 592282 w 1848503"/>
              <a:gd name="connsiteY399" fmla="*/ 144912 h 567840"/>
              <a:gd name="connsiteX400" fmla="*/ 577657 w 1848503"/>
              <a:gd name="connsiteY400" fmla="*/ 146374 h 567840"/>
              <a:gd name="connsiteX401" fmla="*/ 560108 w 1848503"/>
              <a:gd name="connsiteY401" fmla="*/ 152224 h 567840"/>
              <a:gd name="connsiteX402" fmla="*/ 533785 w 1848503"/>
              <a:gd name="connsiteY402" fmla="*/ 168311 h 567840"/>
              <a:gd name="connsiteX403" fmla="*/ 486987 w 1848503"/>
              <a:gd name="connsiteY403" fmla="*/ 209258 h 567840"/>
              <a:gd name="connsiteX404" fmla="*/ 451889 w 1848503"/>
              <a:gd name="connsiteY404" fmla="*/ 235582 h 567840"/>
              <a:gd name="connsiteX405" fmla="*/ 427028 w 1848503"/>
              <a:gd name="connsiteY405" fmla="*/ 248744 h 567840"/>
              <a:gd name="connsiteX406" fmla="*/ 405091 w 1848503"/>
              <a:gd name="connsiteY406" fmla="*/ 256056 h 567840"/>
              <a:gd name="connsiteX407" fmla="*/ 416791 w 1848503"/>
              <a:gd name="connsiteY407" fmla="*/ 226807 h 567840"/>
              <a:gd name="connsiteX408" fmla="*/ 424103 w 1848503"/>
              <a:gd name="connsiteY408" fmla="*/ 204871 h 567840"/>
              <a:gd name="connsiteX409" fmla="*/ 427028 w 1848503"/>
              <a:gd name="connsiteY409" fmla="*/ 191709 h 567840"/>
              <a:gd name="connsiteX410" fmla="*/ 424103 w 1848503"/>
              <a:gd name="connsiteY410" fmla="*/ 169773 h 567840"/>
              <a:gd name="connsiteX411" fmla="*/ 419716 w 1848503"/>
              <a:gd name="connsiteY411" fmla="*/ 162461 h 567840"/>
              <a:gd name="connsiteX412" fmla="*/ 406554 w 1848503"/>
              <a:gd name="connsiteY412" fmla="*/ 152224 h 567840"/>
              <a:gd name="connsiteX413" fmla="*/ 371456 w 1848503"/>
              <a:gd name="connsiteY413" fmla="*/ 150761 h 567840"/>
              <a:gd name="connsiteX414" fmla="*/ 349519 w 1848503"/>
              <a:gd name="connsiteY414" fmla="*/ 159536 h 567840"/>
              <a:gd name="connsiteX415" fmla="*/ 320271 w 1848503"/>
              <a:gd name="connsiteY415" fmla="*/ 177085 h 567840"/>
              <a:gd name="connsiteX416" fmla="*/ 286635 w 1848503"/>
              <a:gd name="connsiteY416" fmla="*/ 204871 h 567840"/>
              <a:gd name="connsiteX417" fmla="*/ 252999 w 1848503"/>
              <a:gd name="connsiteY417" fmla="*/ 241432 h 567840"/>
              <a:gd name="connsiteX418" fmla="*/ 207664 w 1848503"/>
              <a:gd name="connsiteY418" fmla="*/ 316015 h 567840"/>
              <a:gd name="connsiteX419" fmla="*/ 197427 w 1848503"/>
              <a:gd name="connsiteY419" fmla="*/ 346726 h 567840"/>
              <a:gd name="connsiteX420" fmla="*/ 190115 w 1848503"/>
              <a:gd name="connsiteY420" fmla="*/ 368662 h 567840"/>
              <a:gd name="connsiteX421" fmla="*/ 190115 w 1848503"/>
              <a:gd name="connsiteY421" fmla="*/ 384749 h 567840"/>
              <a:gd name="connsiteX422" fmla="*/ 193040 w 1848503"/>
              <a:gd name="connsiteY422" fmla="*/ 396449 h 567840"/>
              <a:gd name="connsiteX423" fmla="*/ 197427 w 1848503"/>
              <a:gd name="connsiteY423" fmla="*/ 406686 h 567840"/>
              <a:gd name="connsiteX424" fmla="*/ 204739 w 1848503"/>
              <a:gd name="connsiteY424" fmla="*/ 413998 h 567840"/>
              <a:gd name="connsiteX425" fmla="*/ 214976 w 1848503"/>
              <a:gd name="connsiteY425" fmla="*/ 418385 h 567840"/>
              <a:gd name="connsiteX426" fmla="*/ 228138 w 1848503"/>
              <a:gd name="connsiteY426" fmla="*/ 419847 h 567840"/>
              <a:gd name="connsiteX427" fmla="*/ 244225 w 1848503"/>
              <a:gd name="connsiteY427" fmla="*/ 418385 h 567840"/>
              <a:gd name="connsiteX428" fmla="*/ 261774 w 1848503"/>
              <a:gd name="connsiteY428" fmla="*/ 412535 h 567840"/>
              <a:gd name="connsiteX429" fmla="*/ 282248 w 1848503"/>
              <a:gd name="connsiteY429" fmla="*/ 400836 h 567840"/>
              <a:gd name="connsiteX430" fmla="*/ 308571 w 1848503"/>
              <a:gd name="connsiteY430" fmla="*/ 378899 h 567840"/>
              <a:gd name="connsiteX431" fmla="*/ 343670 w 1848503"/>
              <a:gd name="connsiteY431" fmla="*/ 337952 h 567840"/>
              <a:gd name="connsiteX432" fmla="*/ 390467 w 1848503"/>
              <a:gd name="connsiteY432" fmla="*/ 270680 h 567840"/>
              <a:gd name="connsiteX433" fmla="*/ 429953 w 1848503"/>
              <a:gd name="connsiteY433" fmla="*/ 261906 h 567840"/>
              <a:gd name="connsiteX434" fmla="*/ 400704 w 1848503"/>
              <a:gd name="connsiteY434" fmla="*/ 318940 h 567840"/>
              <a:gd name="connsiteX435" fmla="*/ 391930 w 1848503"/>
              <a:gd name="connsiteY435" fmla="*/ 345264 h 567840"/>
              <a:gd name="connsiteX436" fmla="*/ 394854 w 1848503"/>
              <a:gd name="connsiteY436" fmla="*/ 402298 h 567840"/>
              <a:gd name="connsiteX437" fmla="*/ 405091 w 1848503"/>
              <a:gd name="connsiteY437" fmla="*/ 415460 h 567840"/>
              <a:gd name="connsiteX438" fmla="*/ 421178 w 1848503"/>
              <a:gd name="connsiteY438" fmla="*/ 424235 h 567840"/>
              <a:gd name="connsiteX439" fmla="*/ 441652 w 1848503"/>
              <a:gd name="connsiteY439" fmla="*/ 427159 h 567840"/>
              <a:gd name="connsiteX440" fmla="*/ 497224 w 1848503"/>
              <a:gd name="connsiteY440" fmla="*/ 409610 h 567840"/>
              <a:gd name="connsiteX441" fmla="*/ 523548 w 1848503"/>
              <a:gd name="connsiteY441" fmla="*/ 389136 h 567840"/>
              <a:gd name="connsiteX442" fmla="*/ 563033 w 1848503"/>
              <a:gd name="connsiteY442" fmla="*/ 349651 h 567840"/>
              <a:gd name="connsiteX443" fmla="*/ 561571 w 1848503"/>
              <a:gd name="connsiteY443" fmla="*/ 383287 h 567840"/>
              <a:gd name="connsiteX444" fmla="*/ 563033 w 1848503"/>
              <a:gd name="connsiteY444" fmla="*/ 397911 h 567840"/>
              <a:gd name="connsiteX445" fmla="*/ 564496 w 1848503"/>
              <a:gd name="connsiteY445" fmla="*/ 405223 h 567840"/>
              <a:gd name="connsiteX446" fmla="*/ 567420 w 1848503"/>
              <a:gd name="connsiteY446" fmla="*/ 409610 h 567840"/>
              <a:gd name="connsiteX447" fmla="*/ 579120 w 1848503"/>
              <a:gd name="connsiteY447" fmla="*/ 418385 h 567840"/>
              <a:gd name="connsiteX448" fmla="*/ 620068 w 1848503"/>
              <a:gd name="connsiteY448" fmla="*/ 413998 h 567840"/>
              <a:gd name="connsiteX449" fmla="*/ 639079 w 1848503"/>
              <a:gd name="connsiteY449" fmla="*/ 402298 h 567840"/>
              <a:gd name="connsiteX450" fmla="*/ 665403 w 1848503"/>
              <a:gd name="connsiteY450" fmla="*/ 380362 h 567840"/>
              <a:gd name="connsiteX451" fmla="*/ 665403 w 1848503"/>
              <a:gd name="connsiteY451" fmla="*/ 394986 h 567840"/>
              <a:gd name="connsiteX452" fmla="*/ 666865 w 1848503"/>
              <a:gd name="connsiteY452" fmla="*/ 403761 h 567840"/>
              <a:gd name="connsiteX453" fmla="*/ 669790 w 1848503"/>
              <a:gd name="connsiteY453" fmla="*/ 412535 h 567840"/>
              <a:gd name="connsiteX454" fmla="*/ 687339 w 1848503"/>
              <a:gd name="connsiteY454" fmla="*/ 421310 h 567840"/>
              <a:gd name="connsiteX455" fmla="*/ 697576 w 1848503"/>
              <a:gd name="connsiteY455" fmla="*/ 421310 h 567840"/>
              <a:gd name="connsiteX456" fmla="*/ 741449 w 1848503"/>
              <a:gd name="connsiteY456" fmla="*/ 405223 h 567840"/>
              <a:gd name="connsiteX457" fmla="*/ 769235 w 1848503"/>
              <a:gd name="connsiteY457" fmla="*/ 381824 h 567840"/>
              <a:gd name="connsiteX458" fmla="*/ 802871 w 1848503"/>
              <a:gd name="connsiteY458" fmla="*/ 342339 h 567840"/>
              <a:gd name="connsiteX459" fmla="*/ 837969 w 1848503"/>
              <a:gd name="connsiteY459" fmla="*/ 286767 h 567840"/>
              <a:gd name="connsiteX460" fmla="*/ 827732 w 1848503"/>
              <a:gd name="connsiteY460" fmla="*/ 283842 h 567840"/>
              <a:gd name="connsiteX461" fmla="*/ 786784 w 1848503"/>
              <a:gd name="connsiteY461" fmla="*/ 335027 h 567840"/>
              <a:gd name="connsiteX462" fmla="*/ 329045 w 1848503"/>
              <a:gd name="connsiteY462" fmla="*/ 333564 h 567840"/>
              <a:gd name="connsiteX463" fmla="*/ 310034 w 1848503"/>
              <a:gd name="connsiteY463" fmla="*/ 355501 h 567840"/>
              <a:gd name="connsiteX464" fmla="*/ 301259 w 1848503"/>
              <a:gd name="connsiteY464" fmla="*/ 362813 h 567840"/>
              <a:gd name="connsiteX465" fmla="*/ 293947 w 1848503"/>
              <a:gd name="connsiteY465" fmla="*/ 367200 h 567840"/>
              <a:gd name="connsiteX466" fmla="*/ 264699 w 1848503"/>
              <a:gd name="connsiteY466" fmla="*/ 361350 h 567840"/>
              <a:gd name="connsiteX467" fmla="*/ 261774 w 1848503"/>
              <a:gd name="connsiteY467" fmla="*/ 346726 h 567840"/>
              <a:gd name="connsiteX468" fmla="*/ 264699 w 1848503"/>
              <a:gd name="connsiteY468" fmla="*/ 332102 h 567840"/>
              <a:gd name="connsiteX469" fmla="*/ 274936 w 1848503"/>
              <a:gd name="connsiteY469" fmla="*/ 308703 h 567840"/>
              <a:gd name="connsiteX470" fmla="*/ 295410 w 1848503"/>
              <a:gd name="connsiteY470" fmla="*/ 273605 h 567840"/>
              <a:gd name="connsiteX471" fmla="*/ 327583 w 1848503"/>
              <a:gd name="connsiteY471" fmla="*/ 232657 h 567840"/>
              <a:gd name="connsiteX472" fmla="*/ 342207 w 1848503"/>
              <a:gd name="connsiteY472" fmla="*/ 251669 h 567840"/>
              <a:gd name="connsiteX473" fmla="*/ 355369 w 1848503"/>
              <a:gd name="connsiteY473" fmla="*/ 261906 h 567840"/>
              <a:gd name="connsiteX474" fmla="*/ 374381 w 1848503"/>
              <a:gd name="connsiteY474" fmla="*/ 270680 h 567840"/>
              <a:gd name="connsiteX475" fmla="*/ 329045 w 1848503"/>
              <a:gd name="connsiteY475" fmla="*/ 333564 h 567840"/>
              <a:gd name="connsiteX476" fmla="*/ 400704 w 1848503"/>
              <a:gd name="connsiteY476" fmla="*/ 204871 h 567840"/>
              <a:gd name="connsiteX477" fmla="*/ 399242 w 1848503"/>
              <a:gd name="connsiteY477" fmla="*/ 215108 h 567840"/>
              <a:gd name="connsiteX478" fmla="*/ 394854 w 1848503"/>
              <a:gd name="connsiteY478" fmla="*/ 228270 h 567840"/>
              <a:gd name="connsiteX479" fmla="*/ 383155 w 1848503"/>
              <a:gd name="connsiteY479" fmla="*/ 251669 h 567840"/>
              <a:gd name="connsiteX480" fmla="*/ 367068 w 1848503"/>
              <a:gd name="connsiteY480" fmla="*/ 245819 h 567840"/>
              <a:gd name="connsiteX481" fmla="*/ 356831 w 1848503"/>
              <a:gd name="connsiteY481" fmla="*/ 239969 h 567840"/>
              <a:gd name="connsiteX482" fmla="*/ 350982 w 1848503"/>
              <a:gd name="connsiteY482" fmla="*/ 234120 h 567840"/>
              <a:gd name="connsiteX483" fmla="*/ 346594 w 1848503"/>
              <a:gd name="connsiteY483" fmla="*/ 229732 h 567840"/>
              <a:gd name="connsiteX484" fmla="*/ 353907 w 1848503"/>
              <a:gd name="connsiteY484" fmla="*/ 188784 h 567840"/>
              <a:gd name="connsiteX485" fmla="*/ 361219 w 1848503"/>
              <a:gd name="connsiteY485" fmla="*/ 182935 h 567840"/>
              <a:gd name="connsiteX486" fmla="*/ 369993 w 1848503"/>
              <a:gd name="connsiteY486" fmla="*/ 178547 h 567840"/>
              <a:gd name="connsiteX487" fmla="*/ 393392 w 1848503"/>
              <a:gd name="connsiteY487" fmla="*/ 178547 h 567840"/>
              <a:gd name="connsiteX488" fmla="*/ 400704 w 1848503"/>
              <a:gd name="connsiteY488" fmla="*/ 204871 h 567840"/>
              <a:gd name="connsiteX489" fmla="*/ 696114 w 1848503"/>
              <a:gd name="connsiteY489" fmla="*/ 321865 h 567840"/>
              <a:gd name="connsiteX490" fmla="*/ 681490 w 1848503"/>
              <a:gd name="connsiteY490" fmla="*/ 342339 h 567840"/>
              <a:gd name="connsiteX491" fmla="*/ 669790 w 1848503"/>
              <a:gd name="connsiteY491" fmla="*/ 355501 h 567840"/>
              <a:gd name="connsiteX492" fmla="*/ 661016 w 1848503"/>
              <a:gd name="connsiteY492" fmla="*/ 362813 h 567840"/>
              <a:gd name="connsiteX493" fmla="*/ 650779 w 1848503"/>
              <a:gd name="connsiteY493" fmla="*/ 368662 h 567840"/>
              <a:gd name="connsiteX494" fmla="*/ 636154 w 1848503"/>
              <a:gd name="connsiteY494" fmla="*/ 364275 h 567840"/>
              <a:gd name="connsiteX495" fmla="*/ 631767 w 1848503"/>
              <a:gd name="connsiteY495" fmla="*/ 349651 h 567840"/>
              <a:gd name="connsiteX496" fmla="*/ 633230 w 1848503"/>
              <a:gd name="connsiteY496" fmla="*/ 339414 h 567840"/>
              <a:gd name="connsiteX497" fmla="*/ 639079 w 1848503"/>
              <a:gd name="connsiteY497" fmla="*/ 323327 h 567840"/>
              <a:gd name="connsiteX498" fmla="*/ 652241 w 1848503"/>
              <a:gd name="connsiteY498" fmla="*/ 297004 h 567840"/>
              <a:gd name="connsiteX499" fmla="*/ 675640 w 1848503"/>
              <a:gd name="connsiteY499" fmla="*/ 260443 h 567840"/>
              <a:gd name="connsiteX500" fmla="*/ 706351 w 1848503"/>
              <a:gd name="connsiteY500" fmla="*/ 222420 h 567840"/>
              <a:gd name="connsiteX501" fmla="*/ 732674 w 1848503"/>
              <a:gd name="connsiteY501" fmla="*/ 194634 h 567840"/>
              <a:gd name="connsiteX502" fmla="*/ 748761 w 1848503"/>
              <a:gd name="connsiteY502" fmla="*/ 181472 h 567840"/>
              <a:gd name="connsiteX503" fmla="*/ 757536 w 1848503"/>
              <a:gd name="connsiteY503" fmla="*/ 177085 h 567840"/>
              <a:gd name="connsiteX504" fmla="*/ 769235 w 1848503"/>
              <a:gd name="connsiteY504" fmla="*/ 177085 h 567840"/>
              <a:gd name="connsiteX505" fmla="*/ 772160 w 1848503"/>
              <a:gd name="connsiteY505" fmla="*/ 193172 h 567840"/>
              <a:gd name="connsiteX506" fmla="*/ 767773 w 1848503"/>
              <a:gd name="connsiteY506" fmla="*/ 200484 h 567840"/>
              <a:gd name="connsiteX507" fmla="*/ 754611 w 1848503"/>
              <a:gd name="connsiteY507" fmla="*/ 222420 h 567840"/>
              <a:gd name="connsiteX508" fmla="*/ 696114 w 1848503"/>
              <a:gd name="connsiteY508" fmla="*/ 321865 h 567840"/>
              <a:gd name="connsiteX509" fmla="*/ 1713961 w 1848503"/>
              <a:gd name="connsiteY509" fmla="*/ 548541 h 567840"/>
              <a:gd name="connsiteX510" fmla="*/ 1709574 w 1848503"/>
              <a:gd name="connsiteY510" fmla="*/ 530991 h 567840"/>
              <a:gd name="connsiteX511" fmla="*/ 1702261 w 1848503"/>
              <a:gd name="connsiteY511" fmla="*/ 530991 h 567840"/>
              <a:gd name="connsiteX512" fmla="*/ 1702261 w 1848503"/>
              <a:gd name="connsiteY512" fmla="*/ 557315 h 567840"/>
              <a:gd name="connsiteX513" fmla="*/ 1706649 w 1848503"/>
              <a:gd name="connsiteY513" fmla="*/ 557315 h 567840"/>
              <a:gd name="connsiteX514" fmla="*/ 1706649 w 1848503"/>
              <a:gd name="connsiteY514" fmla="*/ 536841 h 567840"/>
              <a:gd name="connsiteX515" fmla="*/ 1712498 w 1848503"/>
              <a:gd name="connsiteY515" fmla="*/ 557315 h 567840"/>
              <a:gd name="connsiteX516" fmla="*/ 1718348 w 1848503"/>
              <a:gd name="connsiteY516" fmla="*/ 557315 h 567840"/>
              <a:gd name="connsiteX517" fmla="*/ 1724198 w 1848503"/>
              <a:gd name="connsiteY517" fmla="*/ 536841 h 567840"/>
              <a:gd name="connsiteX518" fmla="*/ 1724198 w 1848503"/>
              <a:gd name="connsiteY518" fmla="*/ 557315 h 567840"/>
              <a:gd name="connsiteX519" fmla="*/ 1728585 w 1848503"/>
              <a:gd name="connsiteY519" fmla="*/ 557315 h 567840"/>
              <a:gd name="connsiteX520" fmla="*/ 1728585 w 1848503"/>
              <a:gd name="connsiteY520" fmla="*/ 530991 h 567840"/>
              <a:gd name="connsiteX521" fmla="*/ 1721273 w 1848503"/>
              <a:gd name="connsiteY521" fmla="*/ 530991 h 567840"/>
              <a:gd name="connsiteX522" fmla="*/ 1713961 w 1848503"/>
              <a:gd name="connsiteY522" fmla="*/ 548541 h 567840"/>
              <a:gd name="connsiteX523" fmla="*/ 1749059 w 1848503"/>
              <a:gd name="connsiteY523" fmla="*/ 548541 h 567840"/>
              <a:gd name="connsiteX524" fmla="*/ 1746134 w 1848503"/>
              <a:gd name="connsiteY524" fmla="*/ 547078 h 567840"/>
              <a:gd name="connsiteX525" fmla="*/ 1751984 w 1848503"/>
              <a:gd name="connsiteY525" fmla="*/ 544153 h 567840"/>
              <a:gd name="connsiteX526" fmla="*/ 1753446 w 1848503"/>
              <a:gd name="connsiteY526" fmla="*/ 539766 h 567840"/>
              <a:gd name="connsiteX527" fmla="*/ 1751984 w 1848503"/>
              <a:gd name="connsiteY527" fmla="*/ 535379 h 567840"/>
              <a:gd name="connsiteX528" fmla="*/ 1749059 w 1848503"/>
              <a:gd name="connsiteY528" fmla="*/ 532454 h 567840"/>
              <a:gd name="connsiteX529" fmla="*/ 1743209 w 1848503"/>
              <a:gd name="connsiteY529" fmla="*/ 532454 h 567840"/>
              <a:gd name="connsiteX530" fmla="*/ 1731510 w 1848503"/>
              <a:gd name="connsiteY530" fmla="*/ 532454 h 567840"/>
              <a:gd name="connsiteX531" fmla="*/ 1731510 w 1848503"/>
              <a:gd name="connsiteY531" fmla="*/ 558778 h 567840"/>
              <a:gd name="connsiteX532" fmla="*/ 1737360 w 1848503"/>
              <a:gd name="connsiteY532" fmla="*/ 558778 h 567840"/>
              <a:gd name="connsiteX533" fmla="*/ 1737360 w 1848503"/>
              <a:gd name="connsiteY533" fmla="*/ 548541 h 567840"/>
              <a:gd name="connsiteX534" fmla="*/ 1738822 w 1848503"/>
              <a:gd name="connsiteY534" fmla="*/ 548541 h 567840"/>
              <a:gd name="connsiteX535" fmla="*/ 1741747 w 1848503"/>
              <a:gd name="connsiteY535" fmla="*/ 548541 h 567840"/>
              <a:gd name="connsiteX536" fmla="*/ 1743209 w 1848503"/>
              <a:gd name="connsiteY536" fmla="*/ 550003 h 567840"/>
              <a:gd name="connsiteX537" fmla="*/ 1746134 w 1848503"/>
              <a:gd name="connsiteY537" fmla="*/ 554390 h 567840"/>
              <a:gd name="connsiteX538" fmla="*/ 1750521 w 1848503"/>
              <a:gd name="connsiteY538" fmla="*/ 560240 h 567840"/>
              <a:gd name="connsiteX539" fmla="*/ 1756371 w 1848503"/>
              <a:gd name="connsiteY539" fmla="*/ 560240 h 567840"/>
              <a:gd name="connsiteX540" fmla="*/ 1753446 w 1848503"/>
              <a:gd name="connsiteY540" fmla="*/ 555853 h 567840"/>
              <a:gd name="connsiteX541" fmla="*/ 1749059 w 1848503"/>
              <a:gd name="connsiteY541" fmla="*/ 548541 h 567840"/>
              <a:gd name="connsiteX542" fmla="*/ 1740284 w 1848503"/>
              <a:gd name="connsiteY542" fmla="*/ 542691 h 567840"/>
              <a:gd name="connsiteX543" fmla="*/ 1735897 w 1848503"/>
              <a:gd name="connsiteY543" fmla="*/ 542691 h 567840"/>
              <a:gd name="connsiteX544" fmla="*/ 1735897 w 1848503"/>
              <a:gd name="connsiteY544" fmla="*/ 536841 h 567840"/>
              <a:gd name="connsiteX545" fmla="*/ 1740284 w 1848503"/>
              <a:gd name="connsiteY545" fmla="*/ 536841 h 567840"/>
              <a:gd name="connsiteX546" fmla="*/ 1744672 w 1848503"/>
              <a:gd name="connsiteY546" fmla="*/ 536841 h 567840"/>
              <a:gd name="connsiteX547" fmla="*/ 1746134 w 1848503"/>
              <a:gd name="connsiteY547" fmla="*/ 538304 h 567840"/>
              <a:gd name="connsiteX548" fmla="*/ 1746134 w 1848503"/>
              <a:gd name="connsiteY548" fmla="*/ 539766 h 567840"/>
              <a:gd name="connsiteX549" fmla="*/ 1746134 w 1848503"/>
              <a:gd name="connsiteY549" fmla="*/ 541228 h 567840"/>
              <a:gd name="connsiteX550" fmla="*/ 1744672 w 1848503"/>
              <a:gd name="connsiteY550" fmla="*/ 542691 h 567840"/>
              <a:gd name="connsiteX551" fmla="*/ 1740284 w 1848503"/>
              <a:gd name="connsiteY551" fmla="*/ 542691 h 567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</a:cxnLst>
            <a:rect l="l" t="t" r="r" b="b"/>
            <a:pathLst>
              <a:path w="1848503" h="567840">
                <a:moveTo>
                  <a:pt x="652241" y="475419"/>
                </a:moveTo>
                <a:cubicBezTo>
                  <a:pt x="627380" y="469570"/>
                  <a:pt x="596669" y="466645"/>
                  <a:pt x="565958" y="466645"/>
                </a:cubicBezTo>
                <a:cubicBezTo>
                  <a:pt x="539634" y="465182"/>
                  <a:pt x="511848" y="466645"/>
                  <a:pt x="462126" y="478344"/>
                </a:cubicBezTo>
                <a:cubicBezTo>
                  <a:pt x="412404" y="490044"/>
                  <a:pt x="340745" y="510518"/>
                  <a:pt x="293947" y="522217"/>
                </a:cubicBezTo>
                <a:cubicBezTo>
                  <a:pt x="247150" y="533916"/>
                  <a:pt x="223751" y="536841"/>
                  <a:pt x="200352" y="536841"/>
                </a:cubicBezTo>
                <a:cubicBezTo>
                  <a:pt x="188653" y="536841"/>
                  <a:pt x="176953" y="535379"/>
                  <a:pt x="168179" y="533916"/>
                </a:cubicBezTo>
                <a:cubicBezTo>
                  <a:pt x="157942" y="532454"/>
                  <a:pt x="149167" y="529529"/>
                  <a:pt x="141855" y="526604"/>
                </a:cubicBezTo>
                <a:cubicBezTo>
                  <a:pt x="134543" y="523679"/>
                  <a:pt x="127231" y="519292"/>
                  <a:pt x="122844" y="516367"/>
                </a:cubicBezTo>
                <a:cubicBezTo>
                  <a:pt x="116994" y="511980"/>
                  <a:pt x="112607" y="507593"/>
                  <a:pt x="108219" y="503205"/>
                </a:cubicBezTo>
                <a:cubicBezTo>
                  <a:pt x="103832" y="498818"/>
                  <a:pt x="100907" y="492968"/>
                  <a:pt x="97982" y="487119"/>
                </a:cubicBezTo>
                <a:cubicBezTo>
                  <a:pt x="95058" y="481269"/>
                  <a:pt x="93595" y="475419"/>
                  <a:pt x="90670" y="469570"/>
                </a:cubicBezTo>
                <a:cubicBezTo>
                  <a:pt x="89208" y="462258"/>
                  <a:pt x="87745" y="456408"/>
                  <a:pt x="87745" y="447633"/>
                </a:cubicBezTo>
                <a:cubicBezTo>
                  <a:pt x="87745" y="440321"/>
                  <a:pt x="87745" y="431547"/>
                  <a:pt x="87745" y="424235"/>
                </a:cubicBezTo>
                <a:cubicBezTo>
                  <a:pt x="89208" y="412535"/>
                  <a:pt x="92133" y="400836"/>
                  <a:pt x="96520" y="383287"/>
                </a:cubicBezTo>
                <a:cubicBezTo>
                  <a:pt x="102370" y="367200"/>
                  <a:pt x="109682" y="346726"/>
                  <a:pt x="121381" y="320403"/>
                </a:cubicBezTo>
                <a:cubicBezTo>
                  <a:pt x="133081" y="297004"/>
                  <a:pt x="149167" y="266293"/>
                  <a:pt x="168179" y="237044"/>
                </a:cubicBezTo>
                <a:cubicBezTo>
                  <a:pt x="187190" y="207796"/>
                  <a:pt x="207664" y="178547"/>
                  <a:pt x="226676" y="153686"/>
                </a:cubicBezTo>
                <a:cubicBezTo>
                  <a:pt x="245687" y="128825"/>
                  <a:pt x="264699" y="109814"/>
                  <a:pt x="280785" y="93727"/>
                </a:cubicBezTo>
                <a:cubicBezTo>
                  <a:pt x="296872" y="77640"/>
                  <a:pt x="310034" y="65941"/>
                  <a:pt x="323196" y="57166"/>
                </a:cubicBezTo>
                <a:cubicBezTo>
                  <a:pt x="334895" y="48392"/>
                  <a:pt x="345132" y="42542"/>
                  <a:pt x="353907" y="38155"/>
                </a:cubicBezTo>
                <a:cubicBezTo>
                  <a:pt x="362681" y="33768"/>
                  <a:pt x="369993" y="30843"/>
                  <a:pt x="377305" y="29380"/>
                </a:cubicBezTo>
                <a:cubicBezTo>
                  <a:pt x="384617" y="27918"/>
                  <a:pt x="390467" y="26455"/>
                  <a:pt x="396317" y="26455"/>
                </a:cubicBezTo>
                <a:cubicBezTo>
                  <a:pt x="400704" y="26455"/>
                  <a:pt x="403629" y="26455"/>
                  <a:pt x="406554" y="29380"/>
                </a:cubicBezTo>
                <a:cubicBezTo>
                  <a:pt x="409479" y="32305"/>
                  <a:pt x="409479" y="35230"/>
                  <a:pt x="409479" y="39617"/>
                </a:cubicBezTo>
                <a:cubicBezTo>
                  <a:pt x="409479" y="41080"/>
                  <a:pt x="409479" y="44005"/>
                  <a:pt x="409479" y="46929"/>
                </a:cubicBezTo>
                <a:cubicBezTo>
                  <a:pt x="400704" y="51317"/>
                  <a:pt x="390467" y="58629"/>
                  <a:pt x="383155" y="64478"/>
                </a:cubicBezTo>
                <a:cubicBezTo>
                  <a:pt x="380230" y="67403"/>
                  <a:pt x="377305" y="70328"/>
                  <a:pt x="374381" y="73253"/>
                </a:cubicBezTo>
                <a:cubicBezTo>
                  <a:pt x="368531" y="79103"/>
                  <a:pt x="365606" y="84952"/>
                  <a:pt x="364144" y="92265"/>
                </a:cubicBezTo>
                <a:cubicBezTo>
                  <a:pt x="362681" y="96652"/>
                  <a:pt x="368531" y="105426"/>
                  <a:pt x="371456" y="106889"/>
                </a:cubicBezTo>
                <a:cubicBezTo>
                  <a:pt x="383155" y="115663"/>
                  <a:pt x="396317" y="109814"/>
                  <a:pt x="409479" y="93727"/>
                </a:cubicBezTo>
                <a:cubicBezTo>
                  <a:pt x="412404" y="90802"/>
                  <a:pt x="415328" y="86415"/>
                  <a:pt x="416791" y="83490"/>
                </a:cubicBezTo>
                <a:cubicBezTo>
                  <a:pt x="419716" y="79103"/>
                  <a:pt x="421178" y="74715"/>
                  <a:pt x="422640" y="70328"/>
                </a:cubicBezTo>
                <a:cubicBezTo>
                  <a:pt x="429953" y="52779"/>
                  <a:pt x="432877" y="35230"/>
                  <a:pt x="422640" y="19143"/>
                </a:cubicBezTo>
                <a:cubicBezTo>
                  <a:pt x="419716" y="16219"/>
                  <a:pt x="416791" y="13294"/>
                  <a:pt x="413866" y="10369"/>
                </a:cubicBezTo>
                <a:cubicBezTo>
                  <a:pt x="410941" y="7444"/>
                  <a:pt x="406554" y="5982"/>
                  <a:pt x="400704" y="4519"/>
                </a:cubicBezTo>
                <a:cubicBezTo>
                  <a:pt x="396317" y="3057"/>
                  <a:pt x="390467" y="1594"/>
                  <a:pt x="381693" y="3057"/>
                </a:cubicBezTo>
                <a:cubicBezTo>
                  <a:pt x="372918" y="3057"/>
                  <a:pt x="362681" y="4519"/>
                  <a:pt x="349519" y="7444"/>
                </a:cubicBezTo>
                <a:cubicBezTo>
                  <a:pt x="336357" y="10369"/>
                  <a:pt x="323196" y="14756"/>
                  <a:pt x="307109" y="22068"/>
                </a:cubicBezTo>
                <a:cubicBezTo>
                  <a:pt x="291022" y="29380"/>
                  <a:pt x="273473" y="38155"/>
                  <a:pt x="254462" y="51317"/>
                </a:cubicBezTo>
                <a:cubicBezTo>
                  <a:pt x="235450" y="64478"/>
                  <a:pt x="213514" y="80565"/>
                  <a:pt x="191578" y="99577"/>
                </a:cubicBezTo>
                <a:cubicBezTo>
                  <a:pt x="169641" y="120051"/>
                  <a:pt x="146242" y="141987"/>
                  <a:pt x="125768" y="166848"/>
                </a:cubicBezTo>
                <a:cubicBezTo>
                  <a:pt x="83358" y="216570"/>
                  <a:pt x="49722" y="270680"/>
                  <a:pt x="30711" y="311628"/>
                </a:cubicBezTo>
                <a:cubicBezTo>
                  <a:pt x="20474" y="333564"/>
                  <a:pt x="14624" y="351113"/>
                  <a:pt x="8775" y="368662"/>
                </a:cubicBezTo>
                <a:cubicBezTo>
                  <a:pt x="4387" y="384749"/>
                  <a:pt x="1462" y="399373"/>
                  <a:pt x="0" y="413998"/>
                </a:cubicBezTo>
                <a:cubicBezTo>
                  <a:pt x="0" y="437396"/>
                  <a:pt x="1462" y="456408"/>
                  <a:pt x="4387" y="472495"/>
                </a:cubicBezTo>
                <a:cubicBezTo>
                  <a:pt x="5850" y="479807"/>
                  <a:pt x="7312" y="487119"/>
                  <a:pt x="10237" y="492968"/>
                </a:cubicBezTo>
                <a:cubicBezTo>
                  <a:pt x="13162" y="500281"/>
                  <a:pt x="16087" y="506130"/>
                  <a:pt x="19012" y="510518"/>
                </a:cubicBezTo>
                <a:cubicBezTo>
                  <a:pt x="21936" y="516367"/>
                  <a:pt x="26324" y="520755"/>
                  <a:pt x="30711" y="526604"/>
                </a:cubicBezTo>
                <a:cubicBezTo>
                  <a:pt x="35098" y="530991"/>
                  <a:pt x="40948" y="535379"/>
                  <a:pt x="46798" y="539766"/>
                </a:cubicBezTo>
                <a:cubicBezTo>
                  <a:pt x="52647" y="544153"/>
                  <a:pt x="59959" y="547078"/>
                  <a:pt x="70196" y="551465"/>
                </a:cubicBezTo>
                <a:cubicBezTo>
                  <a:pt x="78971" y="554390"/>
                  <a:pt x="89208" y="557315"/>
                  <a:pt x="102370" y="560240"/>
                </a:cubicBezTo>
                <a:cubicBezTo>
                  <a:pt x="115531" y="561702"/>
                  <a:pt x="130156" y="563165"/>
                  <a:pt x="146242" y="563165"/>
                </a:cubicBezTo>
                <a:cubicBezTo>
                  <a:pt x="171104" y="564627"/>
                  <a:pt x="194502" y="561702"/>
                  <a:pt x="235450" y="552928"/>
                </a:cubicBezTo>
                <a:cubicBezTo>
                  <a:pt x="276398" y="544153"/>
                  <a:pt x="333433" y="528067"/>
                  <a:pt x="375843" y="519292"/>
                </a:cubicBezTo>
                <a:cubicBezTo>
                  <a:pt x="416791" y="510518"/>
                  <a:pt x="441652" y="509055"/>
                  <a:pt x="466513" y="509055"/>
                </a:cubicBezTo>
                <a:cubicBezTo>
                  <a:pt x="482600" y="509055"/>
                  <a:pt x="497224" y="510518"/>
                  <a:pt x="508924" y="511980"/>
                </a:cubicBezTo>
                <a:cubicBezTo>
                  <a:pt x="520623" y="513442"/>
                  <a:pt x="530860" y="516367"/>
                  <a:pt x="539634" y="520755"/>
                </a:cubicBezTo>
                <a:cubicBezTo>
                  <a:pt x="548409" y="525142"/>
                  <a:pt x="555721" y="529529"/>
                  <a:pt x="564496" y="536841"/>
                </a:cubicBezTo>
                <a:cubicBezTo>
                  <a:pt x="573270" y="544153"/>
                  <a:pt x="582045" y="552928"/>
                  <a:pt x="590819" y="563165"/>
                </a:cubicBezTo>
                <a:cubicBezTo>
                  <a:pt x="617143" y="545616"/>
                  <a:pt x="644929" y="533916"/>
                  <a:pt x="665403" y="530991"/>
                </a:cubicBezTo>
                <a:cubicBezTo>
                  <a:pt x="675640" y="529529"/>
                  <a:pt x="685877" y="528067"/>
                  <a:pt x="694651" y="528067"/>
                </a:cubicBezTo>
                <a:cubicBezTo>
                  <a:pt x="699039" y="528067"/>
                  <a:pt x="701963" y="528067"/>
                  <a:pt x="707813" y="529529"/>
                </a:cubicBezTo>
                <a:cubicBezTo>
                  <a:pt x="712200" y="529529"/>
                  <a:pt x="718050" y="530991"/>
                  <a:pt x="732674" y="535379"/>
                </a:cubicBezTo>
                <a:cubicBezTo>
                  <a:pt x="747299" y="539766"/>
                  <a:pt x="772160" y="548541"/>
                  <a:pt x="795559" y="558778"/>
                </a:cubicBezTo>
                <a:cubicBezTo>
                  <a:pt x="772160" y="536841"/>
                  <a:pt x="745836" y="516367"/>
                  <a:pt x="722437" y="503205"/>
                </a:cubicBezTo>
                <a:cubicBezTo>
                  <a:pt x="699039" y="488581"/>
                  <a:pt x="678565" y="479807"/>
                  <a:pt x="652241" y="475419"/>
                </a:cubicBezTo>
                <a:close/>
                <a:moveTo>
                  <a:pt x="960812" y="147837"/>
                </a:moveTo>
                <a:lnTo>
                  <a:pt x="905240" y="147837"/>
                </a:lnTo>
                <a:lnTo>
                  <a:pt x="877454" y="199021"/>
                </a:lnTo>
                <a:lnTo>
                  <a:pt x="931564" y="199021"/>
                </a:lnTo>
                <a:lnTo>
                  <a:pt x="960812" y="147837"/>
                </a:lnTo>
                <a:close/>
                <a:moveTo>
                  <a:pt x="1775383" y="58629"/>
                </a:moveTo>
                <a:cubicBezTo>
                  <a:pt x="1751984" y="71791"/>
                  <a:pt x="1731510" y="82028"/>
                  <a:pt x="1708111" y="87877"/>
                </a:cubicBezTo>
                <a:cubicBezTo>
                  <a:pt x="1684712" y="93727"/>
                  <a:pt x="1656926" y="96652"/>
                  <a:pt x="1630603" y="96652"/>
                </a:cubicBezTo>
                <a:lnTo>
                  <a:pt x="1582343" y="155149"/>
                </a:lnTo>
                <a:cubicBezTo>
                  <a:pt x="1586730" y="155149"/>
                  <a:pt x="1589655" y="156611"/>
                  <a:pt x="1594042" y="156611"/>
                </a:cubicBezTo>
                <a:cubicBezTo>
                  <a:pt x="1599892" y="158074"/>
                  <a:pt x="1607204" y="158074"/>
                  <a:pt x="1617441" y="158074"/>
                </a:cubicBezTo>
                <a:cubicBezTo>
                  <a:pt x="1634990" y="158074"/>
                  <a:pt x="1652539" y="155149"/>
                  <a:pt x="1670088" y="150761"/>
                </a:cubicBezTo>
                <a:cubicBezTo>
                  <a:pt x="1706649" y="140524"/>
                  <a:pt x="1749059" y="120051"/>
                  <a:pt x="1781232" y="92265"/>
                </a:cubicBezTo>
                <a:cubicBezTo>
                  <a:pt x="1797319" y="79103"/>
                  <a:pt x="1811943" y="64478"/>
                  <a:pt x="1822180" y="49854"/>
                </a:cubicBezTo>
                <a:cubicBezTo>
                  <a:pt x="1833880" y="35230"/>
                  <a:pt x="1841192" y="20606"/>
                  <a:pt x="1848504" y="5982"/>
                </a:cubicBezTo>
                <a:cubicBezTo>
                  <a:pt x="1825105" y="26455"/>
                  <a:pt x="1798781" y="45467"/>
                  <a:pt x="1775383" y="58629"/>
                </a:cubicBezTo>
                <a:close/>
                <a:moveTo>
                  <a:pt x="1712498" y="427159"/>
                </a:moveTo>
                <a:cubicBezTo>
                  <a:pt x="1702261" y="440321"/>
                  <a:pt x="1692024" y="453483"/>
                  <a:pt x="1683250" y="463720"/>
                </a:cubicBezTo>
                <a:cubicBezTo>
                  <a:pt x="1674475" y="473957"/>
                  <a:pt x="1668626" y="479807"/>
                  <a:pt x="1662776" y="485656"/>
                </a:cubicBezTo>
                <a:cubicBezTo>
                  <a:pt x="1658389" y="490044"/>
                  <a:pt x="1654001" y="494431"/>
                  <a:pt x="1651077" y="495893"/>
                </a:cubicBezTo>
                <a:cubicBezTo>
                  <a:pt x="1648152" y="498818"/>
                  <a:pt x="1645227" y="500281"/>
                  <a:pt x="1643764" y="501743"/>
                </a:cubicBezTo>
                <a:cubicBezTo>
                  <a:pt x="1639377" y="504668"/>
                  <a:pt x="1636452" y="504668"/>
                  <a:pt x="1632065" y="504668"/>
                </a:cubicBezTo>
                <a:cubicBezTo>
                  <a:pt x="1627678" y="503205"/>
                  <a:pt x="1627678" y="500281"/>
                  <a:pt x="1627678" y="497356"/>
                </a:cubicBezTo>
                <a:cubicBezTo>
                  <a:pt x="1627678" y="495893"/>
                  <a:pt x="1627678" y="497356"/>
                  <a:pt x="1632065" y="487119"/>
                </a:cubicBezTo>
                <a:cubicBezTo>
                  <a:pt x="1636452" y="478344"/>
                  <a:pt x="1645227" y="463720"/>
                  <a:pt x="1652539" y="447633"/>
                </a:cubicBezTo>
                <a:lnTo>
                  <a:pt x="1749059" y="283842"/>
                </a:lnTo>
                <a:lnTo>
                  <a:pt x="1702261" y="283842"/>
                </a:lnTo>
                <a:lnTo>
                  <a:pt x="1686175" y="298466"/>
                </a:lnTo>
                <a:cubicBezTo>
                  <a:pt x="1680325" y="294079"/>
                  <a:pt x="1674475" y="291154"/>
                  <a:pt x="1670088" y="288229"/>
                </a:cubicBezTo>
                <a:cubicBezTo>
                  <a:pt x="1665701" y="285304"/>
                  <a:pt x="1662776" y="285304"/>
                  <a:pt x="1659851" y="285304"/>
                </a:cubicBezTo>
                <a:cubicBezTo>
                  <a:pt x="1656926" y="285304"/>
                  <a:pt x="1654001" y="283842"/>
                  <a:pt x="1651077" y="283842"/>
                </a:cubicBezTo>
                <a:cubicBezTo>
                  <a:pt x="1634990" y="283842"/>
                  <a:pt x="1618903" y="289692"/>
                  <a:pt x="1601354" y="299929"/>
                </a:cubicBezTo>
                <a:cubicBezTo>
                  <a:pt x="1595504" y="302853"/>
                  <a:pt x="1591117" y="307241"/>
                  <a:pt x="1583805" y="311628"/>
                </a:cubicBezTo>
                <a:cubicBezTo>
                  <a:pt x="1577955" y="316015"/>
                  <a:pt x="1570643" y="321865"/>
                  <a:pt x="1561869" y="330639"/>
                </a:cubicBezTo>
                <a:cubicBezTo>
                  <a:pt x="1553094" y="337952"/>
                  <a:pt x="1544320" y="348189"/>
                  <a:pt x="1526771" y="370125"/>
                </a:cubicBezTo>
                <a:cubicBezTo>
                  <a:pt x="1509221" y="392061"/>
                  <a:pt x="1484360" y="425697"/>
                  <a:pt x="1466811" y="449096"/>
                </a:cubicBezTo>
                <a:cubicBezTo>
                  <a:pt x="1449262" y="472495"/>
                  <a:pt x="1439025" y="484194"/>
                  <a:pt x="1431713" y="492968"/>
                </a:cubicBezTo>
                <a:cubicBezTo>
                  <a:pt x="1424401" y="500281"/>
                  <a:pt x="1421476" y="503205"/>
                  <a:pt x="1418551" y="506130"/>
                </a:cubicBezTo>
                <a:cubicBezTo>
                  <a:pt x="1415626" y="507593"/>
                  <a:pt x="1412701" y="509055"/>
                  <a:pt x="1411239" y="510518"/>
                </a:cubicBezTo>
                <a:cubicBezTo>
                  <a:pt x="1408314" y="511980"/>
                  <a:pt x="1406852" y="511980"/>
                  <a:pt x="1403927" y="511980"/>
                </a:cubicBezTo>
                <a:cubicBezTo>
                  <a:pt x="1399540" y="511980"/>
                  <a:pt x="1393690" y="504668"/>
                  <a:pt x="1393690" y="500281"/>
                </a:cubicBezTo>
                <a:cubicBezTo>
                  <a:pt x="1392228" y="491506"/>
                  <a:pt x="1393690" y="488581"/>
                  <a:pt x="1396615" y="475419"/>
                </a:cubicBezTo>
                <a:cubicBezTo>
                  <a:pt x="1398077" y="468107"/>
                  <a:pt x="1401002" y="456408"/>
                  <a:pt x="1406852" y="441784"/>
                </a:cubicBezTo>
                <a:cubicBezTo>
                  <a:pt x="1411239" y="427159"/>
                  <a:pt x="1417089" y="409610"/>
                  <a:pt x="1424401" y="392061"/>
                </a:cubicBezTo>
                <a:cubicBezTo>
                  <a:pt x="1460961" y="368662"/>
                  <a:pt x="1496060" y="342339"/>
                  <a:pt x="1523846" y="320403"/>
                </a:cubicBezTo>
                <a:cubicBezTo>
                  <a:pt x="1551632" y="298466"/>
                  <a:pt x="1570643" y="277992"/>
                  <a:pt x="1589655" y="256056"/>
                </a:cubicBezTo>
                <a:cubicBezTo>
                  <a:pt x="1608666" y="232657"/>
                  <a:pt x="1629140" y="206334"/>
                  <a:pt x="1648152" y="177085"/>
                </a:cubicBezTo>
                <a:lnTo>
                  <a:pt x="1626215" y="180010"/>
                </a:lnTo>
                <a:cubicBezTo>
                  <a:pt x="1611591" y="200484"/>
                  <a:pt x="1596967" y="219495"/>
                  <a:pt x="1579418" y="239969"/>
                </a:cubicBezTo>
                <a:cubicBezTo>
                  <a:pt x="1561869" y="260443"/>
                  <a:pt x="1541395" y="280917"/>
                  <a:pt x="1517996" y="301391"/>
                </a:cubicBezTo>
                <a:cubicBezTo>
                  <a:pt x="1494597" y="321865"/>
                  <a:pt x="1471198" y="340876"/>
                  <a:pt x="1444875" y="358426"/>
                </a:cubicBezTo>
                <a:cubicBezTo>
                  <a:pt x="1460961" y="327715"/>
                  <a:pt x="1478511" y="298466"/>
                  <a:pt x="1496060" y="267755"/>
                </a:cubicBezTo>
                <a:cubicBezTo>
                  <a:pt x="1513609" y="238507"/>
                  <a:pt x="1532620" y="209258"/>
                  <a:pt x="1551632" y="182935"/>
                </a:cubicBezTo>
                <a:cubicBezTo>
                  <a:pt x="1570643" y="156611"/>
                  <a:pt x="1588192" y="133212"/>
                  <a:pt x="1605741" y="112738"/>
                </a:cubicBezTo>
                <a:cubicBezTo>
                  <a:pt x="1621828" y="92265"/>
                  <a:pt x="1637915" y="77640"/>
                  <a:pt x="1649614" y="65941"/>
                </a:cubicBezTo>
                <a:cubicBezTo>
                  <a:pt x="1661314" y="54242"/>
                  <a:pt x="1671550" y="46929"/>
                  <a:pt x="1678863" y="41080"/>
                </a:cubicBezTo>
                <a:cubicBezTo>
                  <a:pt x="1686175" y="35230"/>
                  <a:pt x="1692024" y="33768"/>
                  <a:pt x="1694949" y="30843"/>
                </a:cubicBezTo>
                <a:cubicBezTo>
                  <a:pt x="1699337" y="29380"/>
                  <a:pt x="1702261" y="27918"/>
                  <a:pt x="1703724" y="27918"/>
                </a:cubicBezTo>
                <a:cubicBezTo>
                  <a:pt x="1705186" y="27918"/>
                  <a:pt x="1706649" y="27918"/>
                  <a:pt x="1708111" y="29380"/>
                </a:cubicBezTo>
                <a:cubicBezTo>
                  <a:pt x="1712498" y="33768"/>
                  <a:pt x="1712498" y="36692"/>
                  <a:pt x="1711036" y="41080"/>
                </a:cubicBezTo>
                <a:cubicBezTo>
                  <a:pt x="1711036" y="42542"/>
                  <a:pt x="1711036" y="44005"/>
                  <a:pt x="1708111" y="49854"/>
                </a:cubicBezTo>
                <a:cubicBezTo>
                  <a:pt x="1705186" y="55704"/>
                  <a:pt x="1702261" y="65941"/>
                  <a:pt x="1697874" y="74715"/>
                </a:cubicBezTo>
                <a:lnTo>
                  <a:pt x="1716886" y="71791"/>
                </a:lnTo>
                <a:cubicBezTo>
                  <a:pt x="1719810" y="65941"/>
                  <a:pt x="1724198" y="60091"/>
                  <a:pt x="1725660" y="55704"/>
                </a:cubicBezTo>
                <a:cubicBezTo>
                  <a:pt x="1727123" y="51317"/>
                  <a:pt x="1728585" y="49854"/>
                  <a:pt x="1728585" y="46929"/>
                </a:cubicBezTo>
                <a:cubicBezTo>
                  <a:pt x="1728585" y="44005"/>
                  <a:pt x="1730047" y="41080"/>
                  <a:pt x="1730047" y="38155"/>
                </a:cubicBezTo>
                <a:cubicBezTo>
                  <a:pt x="1730047" y="27918"/>
                  <a:pt x="1728585" y="19143"/>
                  <a:pt x="1719810" y="11831"/>
                </a:cubicBezTo>
                <a:cubicBezTo>
                  <a:pt x="1716886" y="10369"/>
                  <a:pt x="1715423" y="8906"/>
                  <a:pt x="1712498" y="7444"/>
                </a:cubicBezTo>
                <a:cubicBezTo>
                  <a:pt x="1702261" y="4519"/>
                  <a:pt x="1693487" y="5982"/>
                  <a:pt x="1681787" y="8906"/>
                </a:cubicBezTo>
                <a:cubicBezTo>
                  <a:pt x="1673013" y="11831"/>
                  <a:pt x="1664238" y="14756"/>
                  <a:pt x="1652539" y="20606"/>
                </a:cubicBezTo>
                <a:cubicBezTo>
                  <a:pt x="1640840" y="26455"/>
                  <a:pt x="1629140" y="35230"/>
                  <a:pt x="1613053" y="46929"/>
                </a:cubicBezTo>
                <a:cubicBezTo>
                  <a:pt x="1596967" y="58629"/>
                  <a:pt x="1579418" y="76178"/>
                  <a:pt x="1558944" y="98114"/>
                </a:cubicBezTo>
                <a:cubicBezTo>
                  <a:pt x="1538470" y="120051"/>
                  <a:pt x="1515071" y="146374"/>
                  <a:pt x="1491672" y="178547"/>
                </a:cubicBezTo>
                <a:cubicBezTo>
                  <a:pt x="1468274" y="209258"/>
                  <a:pt x="1443412" y="245819"/>
                  <a:pt x="1420014" y="282380"/>
                </a:cubicBezTo>
                <a:cubicBezTo>
                  <a:pt x="1398077" y="318940"/>
                  <a:pt x="1377603" y="356963"/>
                  <a:pt x="1358592" y="394986"/>
                </a:cubicBezTo>
                <a:lnTo>
                  <a:pt x="1332268" y="394986"/>
                </a:lnTo>
                <a:cubicBezTo>
                  <a:pt x="1336655" y="384749"/>
                  <a:pt x="1342505" y="373050"/>
                  <a:pt x="1345430" y="365738"/>
                </a:cubicBezTo>
                <a:cubicBezTo>
                  <a:pt x="1348355" y="358426"/>
                  <a:pt x="1349817" y="352576"/>
                  <a:pt x="1351280" y="348189"/>
                </a:cubicBezTo>
                <a:cubicBezTo>
                  <a:pt x="1354205" y="335027"/>
                  <a:pt x="1354205" y="320403"/>
                  <a:pt x="1349817" y="308703"/>
                </a:cubicBezTo>
                <a:cubicBezTo>
                  <a:pt x="1348355" y="305778"/>
                  <a:pt x="1346892" y="301391"/>
                  <a:pt x="1343968" y="299929"/>
                </a:cubicBezTo>
                <a:cubicBezTo>
                  <a:pt x="1335193" y="289692"/>
                  <a:pt x="1327881" y="288229"/>
                  <a:pt x="1317644" y="288229"/>
                </a:cubicBezTo>
                <a:cubicBezTo>
                  <a:pt x="1313257" y="288229"/>
                  <a:pt x="1308869" y="288229"/>
                  <a:pt x="1303020" y="291154"/>
                </a:cubicBezTo>
                <a:cubicBezTo>
                  <a:pt x="1297170" y="292616"/>
                  <a:pt x="1291320" y="294079"/>
                  <a:pt x="1282546" y="298466"/>
                </a:cubicBezTo>
                <a:cubicBezTo>
                  <a:pt x="1275234" y="301391"/>
                  <a:pt x="1266459" y="307241"/>
                  <a:pt x="1257685" y="313090"/>
                </a:cubicBezTo>
                <a:cubicBezTo>
                  <a:pt x="1247448" y="320403"/>
                  <a:pt x="1237211" y="327715"/>
                  <a:pt x="1226974" y="339414"/>
                </a:cubicBezTo>
                <a:cubicBezTo>
                  <a:pt x="1215274" y="349651"/>
                  <a:pt x="1203575" y="362813"/>
                  <a:pt x="1193338" y="375975"/>
                </a:cubicBezTo>
                <a:cubicBezTo>
                  <a:pt x="1169939" y="403761"/>
                  <a:pt x="1152390" y="434472"/>
                  <a:pt x="1142153" y="457870"/>
                </a:cubicBezTo>
                <a:cubicBezTo>
                  <a:pt x="1136303" y="469570"/>
                  <a:pt x="1133379" y="479807"/>
                  <a:pt x="1130454" y="490044"/>
                </a:cubicBezTo>
                <a:cubicBezTo>
                  <a:pt x="1127529" y="498818"/>
                  <a:pt x="1126066" y="507593"/>
                  <a:pt x="1126066" y="514905"/>
                </a:cubicBezTo>
                <a:cubicBezTo>
                  <a:pt x="1126066" y="522217"/>
                  <a:pt x="1126066" y="528067"/>
                  <a:pt x="1126066" y="532454"/>
                </a:cubicBezTo>
                <a:cubicBezTo>
                  <a:pt x="1127529" y="538304"/>
                  <a:pt x="1128991" y="542691"/>
                  <a:pt x="1130454" y="547078"/>
                </a:cubicBezTo>
                <a:cubicBezTo>
                  <a:pt x="1131916" y="551465"/>
                  <a:pt x="1134841" y="554390"/>
                  <a:pt x="1139228" y="557315"/>
                </a:cubicBezTo>
                <a:cubicBezTo>
                  <a:pt x="1142153" y="560240"/>
                  <a:pt x="1146540" y="563165"/>
                  <a:pt x="1150928" y="564627"/>
                </a:cubicBezTo>
                <a:cubicBezTo>
                  <a:pt x="1155315" y="566090"/>
                  <a:pt x="1159702" y="567552"/>
                  <a:pt x="1165552" y="567552"/>
                </a:cubicBezTo>
                <a:cubicBezTo>
                  <a:pt x="1175789" y="567552"/>
                  <a:pt x="1186026" y="564627"/>
                  <a:pt x="1197725" y="558778"/>
                </a:cubicBezTo>
                <a:cubicBezTo>
                  <a:pt x="1203575" y="555853"/>
                  <a:pt x="1210887" y="551465"/>
                  <a:pt x="1219662" y="545616"/>
                </a:cubicBezTo>
                <a:cubicBezTo>
                  <a:pt x="1228436" y="539766"/>
                  <a:pt x="1237211" y="530991"/>
                  <a:pt x="1247448" y="520755"/>
                </a:cubicBezTo>
                <a:cubicBezTo>
                  <a:pt x="1257685" y="510518"/>
                  <a:pt x="1269384" y="495893"/>
                  <a:pt x="1282546" y="478344"/>
                </a:cubicBezTo>
                <a:cubicBezTo>
                  <a:pt x="1295708" y="460795"/>
                  <a:pt x="1311794" y="438859"/>
                  <a:pt x="1324956" y="415460"/>
                </a:cubicBezTo>
                <a:lnTo>
                  <a:pt x="1351280" y="415460"/>
                </a:lnTo>
                <a:cubicBezTo>
                  <a:pt x="1342505" y="437396"/>
                  <a:pt x="1335193" y="460795"/>
                  <a:pt x="1329343" y="475419"/>
                </a:cubicBezTo>
                <a:cubicBezTo>
                  <a:pt x="1324956" y="490044"/>
                  <a:pt x="1323494" y="495893"/>
                  <a:pt x="1322031" y="501743"/>
                </a:cubicBezTo>
                <a:cubicBezTo>
                  <a:pt x="1320569" y="513442"/>
                  <a:pt x="1319106" y="523679"/>
                  <a:pt x="1319106" y="532454"/>
                </a:cubicBezTo>
                <a:cubicBezTo>
                  <a:pt x="1319106" y="536841"/>
                  <a:pt x="1320569" y="541228"/>
                  <a:pt x="1322031" y="544153"/>
                </a:cubicBezTo>
                <a:cubicBezTo>
                  <a:pt x="1323494" y="547078"/>
                  <a:pt x="1324956" y="551465"/>
                  <a:pt x="1326418" y="554390"/>
                </a:cubicBezTo>
                <a:cubicBezTo>
                  <a:pt x="1327881" y="557315"/>
                  <a:pt x="1330806" y="560240"/>
                  <a:pt x="1333731" y="561702"/>
                </a:cubicBezTo>
                <a:cubicBezTo>
                  <a:pt x="1336655" y="563165"/>
                  <a:pt x="1339580" y="566090"/>
                  <a:pt x="1343968" y="566090"/>
                </a:cubicBezTo>
                <a:cubicBezTo>
                  <a:pt x="1346892" y="567552"/>
                  <a:pt x="1351280" y="567552"/>
                  <a:pt x="1355667" y="567552"/>
                </a:cubicBezTo>
                <a:cubicBezTo>
                  <a:pt x="1370291" y="567552"/>
                  <a:pt x="1383453" y="563165"/>
                  <a:pt x="1401002" y="551465"/>
                </a:cubicBezTo>
                <a:cubicBezTo>
                  <a:pt x="1406852" y="547078"/>
                  <a:pt x="1414164" y="541228"/>
                  <a:pt x="1422938" y="532454"/>
                </a:cubicBezTo>
                <a:cubicBezTo>
                  <a:pt x="1431713" y="523679"/>
                  <a:pt x="1441950" y="513442"/>
                  <a:pt x="1452187" y="501743"/>
                </a:cubicBezTo>
                <a:cubicBezTo>
                  <a:pt x="1452187" y="509055"/>
                  <a:pt x="1450724" y="516367"/>
                  <a:pt x="1450724" y="522217"/>
                </a:cubicBezTo>
                <a:cubicBezTo>
                  <a:pt x="1450724" y="528067"/>
                  <a:pt x="1450724" y="532454"/>
                  <a:pt x="1452187" y="536841"/>
                </a:cubicBezTo>
                <a:cubicBezTo>
                  <a:pt x="1452187" y="541228"/>
                  <a:pt x="1453649" y="544153"/>
                  <a:pt x="1455112" y="545616"/>
                </a:cubicBezTo>
                <a:cubicBezTo>
                  <a:pt x="1456574" y="548541"/>
                  <a:pt x="1456574" y="550003"/>
                  <a:pt x="1458037" y="552928"/>
                </a:cubicBezTo>
                <a:cubicBezTo>
                  <a:pt x="1460961" y="557315"/>
                  <a:pt x="1462424" y="558778"/>
                  <a:pt x="1465349" y="561702"/>
                </a:cubicBezTo>
                <a:cubicBezTo>
                  <a:pt x="1471198" y="564627"/>
                  <a:pt x="1475586" y="566090"/>
                  <a:pt x="1481435" y="566090"/>
                </a:cubicBezTo>
                <a:cubicBezTo>
                  <a:pt x="1484360" y="566090"/>
                  <a:pt x="1487285" y="566090"/>
                  <a:pt x="1491672" y="564627"/>
                </a:cubicBezTo>
                <a:cubicBezTo>
                  <a:pt x="1498984" y="563165"/>
                  <a:pt x="1506297" y="560240"/>
                  <a:pt x="1515071" y="555853"/>
                </a:cubicBezTo>
                <a:cubicBezTo>
                  <a:pt x="1519458" y="552928"/>
                  <a:pt x="1525308" y="550003"/>
                  <a:pt x="1531158" y="542691"/>
                </a:cubicBezTo>
                <a:cubicBezTo>
                  <a:pt x="1538470" y="536841"/>
                  <a:pt x="1547244" y="528067"/>
                  <a:pt x="1556019" y="519292"/>
                </a:cubicBezTo>
                <a:cubicBezTo>
                  <a:pt x="1556019" y="525142"/>
                  <a:pt x="1554557" y="532454"/>
                  <a:pt x="1554557" y="536841"/>
                </a:cubicBezTo>
                <a:cubicBezTo>
                  <a:pt x="1554557" y="541228"/>
                  <a:pt x="1554557" y="545616"/>
                  <a:pt x="1556019" y="547078"/>
                </a:cubicBezTo>
                <a:cubicBezTo>
                  <a:pt x="1556019" y="550003"/>
                  <a:pt x="1557481" y="551465"/>
                  <a:pt x="1557481" y="554390"/>
                </a:cubicBezTo>
                <a:cubicBezTo>
                  <a:pt x="1558944" y="560240"/>
                  <a:pt x="1564794" y="566090"/>
                  <a:pt x="1569181" y="566090"/>
                </a:cubicBezTo>
                <a:cubicBezTo>
                  <a:pt x="1583805" y="570477"/>
                  <a:pt x="1595504" y="566090"/>
                  <a:pt x="1611591" y="558778"/>
                </a:cubicBezTo>
                <a:cubicBezTo>
                  <a:pt x="1617441" y="555853"/>
                  <a:pt x="1624753" y="551465"/>
                  <a:pt x="1632065" y="545616"/>
                </a:cubicBezTo>
                <a:cubicBezTo>
                  <a:pt x="1639377" y="539766"/>
                  <a:pt x="1648152" y="532454"/>
                  <a:pt x="1658389" y="522217"/>
                </a:cubicBezTo>
                <a:cubicBezTo>
                  <a:pt x="1668626" y="511980"/>
                  <a:pt x="1678863" y="498818"/>
                  <a:pt x="1690562" y="482731"/>
                </a:cubicBezTo>
                <a:cubicBezTo>
                  <a:pt x="1702261" y="466645"/>
                  <a:pt x="1713961" y="447633"/>
                  <a:pt x="1725660" y="427159"/>
                </a:cubicBezTo>
                <a:lnTo>
                  <a:pt x="1712498" y="427159"/>
                </a:lnTo>
                <a:close/>
                <a:moveTo>
                  <a:pt x="1286933" y="441784"/>
                </a:moveTo>
                <a:cubicBezTo>
                  <a:pt x="1279621" y="452021"/>
                  <a:pt x="1272309" y="460795"/>
                  <a:pt x="1264997" y="469570"/>
                </a:cubicBezTo>
                <a:cubicBezTo>
                  <a:pt x="1257685" y="478344"/>
                  <a:pt x="1251835" y="484194"/>
                  <a:pt x="1245985" y="490044"/>
                </a:cubicBezTo>
                <a:cubicBezTo>
                  <a:pt x="1240135" y="495893"/>
                  <a:pt x="1235748" y="498818"/>
                  <a:pt x="1231361" y="501743"/>
                </a:cubicBezTo>
                <a:cubicBezTo>
                  <a:pt x="1226974" y="504668"/>
                  <a:pt x="1224049" y="506130"/>
                  <a:pt x="1222586" y="507593"/>
                </a:cubicBezTo>
                <a:cubicBezTo>
                  <a:pt x="1219662" y="509055"/>
                  <a:pt x="1218199" y="509055"/>
                  <a:pt x="1216737" y="509055"/>
                </a:cubicBezTo>
                <a:cubicBezTo>
                  <a:pt x="1210887" y="509055"/>
                  <a:pt x="1206500" y="506130"/>
                  <a:pt x="1202112" y="500281"/>
                </a:cubicBezTo>
                <a:cubicBezTo>
                  <a:pt x="1200650" y="498818"/>
                  <a:pt x="1199188" y="495893"/>
                  <a:pt x="1199188" y="492968"/>
                </a:cubicBezTo>
                <a:cubicBezTo>
                  <a:pt x="1197725" y="487119"/>
                  <a:pt x="1196263" y="481269"/>
                  <a:pt x="1197725" y="473957"/>
                </a:cubicBezTo>
                <a:cubicBezTo>
                  <a:pt x="1197725" y="469570"/>
                  <a:pt x="1199188" y="463720"/>
                  <a:pt x="1200650" y="457870"/>
                </a:cubicBezTo>
                <a:cubicBezTo>
                  <a:pt x="1202112" y="452021"/>
                  <a:pt x="1203575" y="446171"/>
                  <a:pt x="1206500" y="438859"/>
                </a:cubicBezTo>
                <a:cubicBezTo>
                  <a:pt x="1216737" y="416922"/>
                  <a:pt x="1234286" y="392061"/>
                  <a:pt x="1257685" y="371587"/>
                </a:cubicBezTo>
                <a:cubicBezTo>
                  <a:pt x="1260609" y="377437"/>
                  <a:pt x="1263534" y="381824"/>
                  <a:pt x="1267921" y="387674"/>
                </a:cubicBezTo>
                <a:cubicBezTo>
                  <a:pt x="1269384" y="390599"/>
                  <a:pt x="1272309" y="392061"/>
                  <a:pt x="1275234" y="394986"/>
                </a:cubicBezTo>
                <a:cubicBezTo>
                  <a:pt x="1278159" y="397911"/>
                  <a:pt x="1282546" y="399373"/>
                  <a:pt x="1288395" y="402298"/>
                </a:cubicBezTo>
                <a:cubicBezTo>
                  <a:pt x="1294245" y="405223"/>
                  <a:pt x="1301557" y="408148"/>
                  <a:pt x="1308869" y="409610"/>
                </a:cubicBezTo>
                <a:cubicBezTo>
                  <a:pt x="1300095" y="421310"/>
                  <a:pt x="1294245" y="433009"/>
                  <a:pt x="1286933" y="441784"/>
                </a:cubicBezTo>
                <a:close/>
                <a:moveTo>
                  <a:pt x="1332268" y="342339"/>
                </a:moveTo>
                <a:cubicBezTo>
                  <a:pt x="1332268" y="345264"/>
                  <a:pt x="1330806" y="349651"/>
                  <a:pt x="1330806" y="352576"/>
                </a:cubicBezTo>
                <a:cubicBezTo>
                  <a:pt x="1330806" y="355501"/>
                  <a:pt x="1329343" y="359888"/>
                  <a:pt x="1326418" y="365738"/>
                </a:cubicBezTo>
                <a:cubicBezTo>
                  <a:pt x="1323494" y="373050"/>
                  <a:pt x="1317644" y="383287"/>
                  <a:pt x="1313257" y="393524"/>
                </a:cubicBezTo>
                <a:cubicBezTo>
                  <a:pt x="1307407" y="392061"/>
                  <a:pt x="1301557" y="389136"/>
                  <a:pt x="1297170" y="387674"/>
                </a:cubicBezTo>
                <a:cubicBezTo>
                  <a:pt x="1292783" y="386212"/>
                  <a:pt x="1289858" y="383287"/>
                  <a:pt x="1288395" y="381824"/>
                </a:cubicBezTo>
                <a:cubicBezTo>
                  <a:pt x="1286933" y="380362"/>
                  <a:pt x="1284008" y="378899"/>
                  <a:pt x="1284008" y="377437"/>
                </a:cubicBezTo>
                <a:cubicBezTo>
                  <a:pt x="1281083" y="374512"/>
                  <a:pt x="1279621" y="371587"/>
                  <a:pt x="1278159" y="367200"/>
                </a:cubicBezTo>
                <a:cubicBezTo>
                  <a:pt x="1273771" y="349651"/>
                  <a:pt x="1276696" y="330639"/>
                  <a:pt x="1297170" y="317478"/>
                </a:cubicBezTo>
                <a:cubicBezTo>
                  <a:pt x="1303020" y="313090"/>
                  <a:pt x="1308869" y="311628"/>
                  <a:pt x="1314719" y="311628"/>
                </a:cubicBezTo>
                <a:cubicBezTo>
                  <a:pt x="1320569" y="311628"/>
                  <a:pt x="1324956" y="311628"/>
                  <a:pt x="1329343" y="316015"/>
                </a:cubicBezTo>
                <a:cubicBezTo>
                  <a:pt x="1333731" y="320403"/>
                  <a:pt x="1333731" y="324790"/>
                  <a:pt x="1333731" y="332102"/>
                </a:cubicBezTo>
                <a:cubicBezTo>
                  <a:pt x="1332268" y="335027"/>
                  <a:pt x="1332268" y="339414"/>
                  <a:pt x="1332268" y="342339"/>
                </a:cubicBezTo>
                <a:close/>
                <a:moveTo>
                  <a:pt x="1586730" y="454945"/>
                </a:moveTo>
                <a:cubicBezTo>
                  <a:pt x="1579418" y="465182"/>
                  <a:pt x="1572106" y="475419"/>
                  <a:pt x="1566256" y="482731"/>
                </a:cubicBezTo>
                <a:cubicBezTo>
                  <a:pt x="1560406" y="490044"/>
                  <a:pt x="1556019" y="494431"/>
                  <a:pt x="1551632" y="497356"/>
                </a:cubicBezTo>
                <a:cubicBezTo>
                  <a:pt x="1547244" y="500281"/>
                  <a:pt x="1544320" y="503205"/>
                  <a:pt x="1541395" y="504668"/>
                </a:cubicBezTo>
                <a:cubicBezTo>
                  <a:pt x="1535545" y="507593"/>
                  <a:pt x="1528233" y="507593"/>
                  <a:pt x="1523846" y="504668"/>
                </a:cubicBezTo>
                <a:cubicBezTo>
                  <a:pt x="1519458" y="500281"/>
                  <a:pt x="1520921" y="495893"/>
                  <a:pt x="1520921" y="490044"/>
                </a:cubicBezTo>
                <a:cubicBezTo>
                  <a:pt x="1520921" y="487119"/>
                  <a:pt x="1522383" y="482731"/>
                  <a:pt x="1522383" y="478344"/>
                </a:cubicBezTo>
                <a:cubicBezTo>
                  <a:pt x="1523846" y="473957"/>
                  <a:pt x="1525308" y="468107"/>
                  <a:pt x="1526771" y="463720"/>
                </a:cubicBezTo>
                <a:cubicBezTo>
                  <a:pt x="1528233" y="457870"/>
                  <a:pt x="1531158" y="452021"/>
                  <a:pt x="1535545" y="444709"/>
                </a:cubicBezTo>
                <a:cubicBezTo>
                  <a:pt x="1539932" y="437396"/>
                  <a:pt x="1544320" y="428622"/>
                  <a:pt x="1550169" y="419847"/>
                </a:cubicBezTo>
                <a:cubicBezTo>
                  <a:pt x="1556019" y="411073"/>
                  <a:pt x="1563331" y="399373"/>
                  <a:pt x="1572106" y="389136"/>
                </a:cubicBezTo>
                <a:cubicBezTo>
                  <a:pt x="1580880" y="378899"/>
                  <a:pt x="1589655" y="367200"/>
                  <a:pt x="1598429" y="358426"/>
                </a:cubicBezTo>
                <a:cubicBezTo>
                  <a:pt x="1607204" y="348189"/>
                  <a:pt x="1615978" y="340876"/>
                  <a:pt x="1623291" y="333564"/>
                </a:cubicBezTo>
                <a:cubicBezTo>
                  <a:pt x="1630603" y="327715"/>
                  <a:pt x="1636452" y="323327"/>
                  <a:pt x="1640840" y="320403"/>
                </a:cubicBezTo>
                <a:cubicBezTo>
                  <a:pt x="1645227" y="317478"/>
                  <a:pt x="1648152" y="316015"/>
                  <a:pt x="1651077" y="314553"/>
                </a:cubicBezTo>
                <a:cubicBezTo>
                  <a:pt x="1654001" y="313090"/>
                  <a:pt x="1655464" y="313090"/>
                  <a:pt x="1656926" y="313090"/>
                </a:cubicBezTo>
                <a:cubicBezTo>
                  <a:pt x="1659851" y="313090"/>
                  <a:pt x="1662776" y="313090"/>
                  <a:pt x="1665701" y="314553"/>
                </a:cubicBezTo>
                <a:cubicBezTo>
                  <a:pt x="1668626" y="317478"/>
                  <a:pt x="1667163" y="321865"/>
                  <a:pt x="1665701" y="326252"/>
                </a:cubicBezTo>
                <a:cubicBezTo>
                  <a:pt x="1664238" y="329177"/>
                  <a:pt x="1664238" y="332102"/>
                  <a:pt x="1661314" y="336489"/>
                </a:cubicBezTo>
                <a:cubicBezTo>
                  <a:pt x="1659851" y="340876"/>
                  <a:pt x="1656926" y="345264"/>
                  <a:pt x="1654001" y="349651"/>
                </a:cubicBezTo>
                <a:lnTo>
                  <a:pt x="1586730" y="454945"/>
                </a:lnTo>
                <a:close/>
                <a:moveTo>
                  <a:pt x="1159702" y="362813"/>
                </a:moveTo>
                <a:cubicBezTo>
                  <a:pt x="1162627" y="351113"/>
                  <a:pt x="1164089" y="339414"/>
                  <a:pt x="1165552" y="329177"/>
                </a:cubicBezTo>
                <a:cubicBezTo>
                  <a:pt x="1167014" y="320403"/>
                  <a:pt x="1165552" y="313090"/>
                  <a:pt x="1164089" y="305778"/>
                </a:cubicBezTo>
                <a:cubicBezTo>
                  <a:pt x="1162627" y="302853"/>
                  <a:pt x="1161165" y="299929"/>
                  <a:pt x="1161165" y="298466"/>
                </a:cubicBezTo>
                <a:cubicBezTo>
                  <a:pt x="1158240" y="292616"/>
                  <a:pt x="1153852" y="291154"/>
                  <a:pt x="1149465" y="288229"/>
                </a:cubicBezTo>
                <a:cubicBezTo>
                  <a:pt x="1146540" y="286767"/>
                  <a:pt x="1143615" y="285304"/>
                  <a:pt x="1140691" y="285304"/>
                </a:cubicBezTo>
                <a:cubicBezTo>
                  <a:pt x="1137766" y="283842"/>
                  <a:pt x="1133379" y="283842"/>
                  <a:pt x="1127529" y="283842"/>
                </a:cubicBezTo>
                <a:cubicBezTo>
                  <a:pt x="1123142" y="283842"/>
                  <a:pt x="1117292" y="283842"/>
                  <a:pt x="1111442" y="285304"/>
                </a:cubicBezTo>
                <a:cubicBezTo>
                  <a:pt x="1089506" y="289692"/>
                  <a:pt x="1066107" y="301391"/>
                  <a:pt x="1042708" y="327715"/>
                </a:cubicBezTo>
                <a:cubicBezTo>
                  <a:pt x="1036859" y="335027"/>
                  <a:pt x="1031009" y="342339"/>
                  <a:pt x="1025159" y="351113"/>
                </a:cubicBezTo>
                <a:cubicBezTo>
                  <a:pt x="1019309" y="359888"/>
                  <a:pt x="1013460" y="370125"/>
                  <a:pt x="1007610" y="381824"/>
                </a:cubicBezTo>
                <a:cubicBezTo>
                  <a:pt x="1001760" y="393524"/>
                  <a:pt x="997373" y="405223"/>
                  <a:pt x="992986" y="418385"/>
                </a:cubicBezTo>
                <a:cubicBezTo>
                  <a:pt x="988599" y="431547"/>
                  <a:pt x="985674" y="444709"/>
                  <a:pt x="982749" y="457870"/>
                </a:cubicBezTo>
                <a:cubicBezTo>
                  <a:pt x="994448" y="447633"/>
                  <a:pt x="1007610" y="437396"/>
                  <a:pt x="1016385" y="431547"/>
                </a:cubicBezTo>
                <a:cubicBezTo>
                  <a:pt x="1025159" y="424235"/>
                  <a:pt x="1031009" y="421310"/>
                  <a:pt x="1038321" y="416922"/>
                </a:cubicBezTo>
                <a:cubicBezTo>
                  <a:pt x="1045633" y="412535"/>
                  <a:pt x="1054408" y="408148"/>
                  <a:pt x="1064645" y="403761"/>
                </a:cubicBezTo>
                <a:cubicBezTo>
                  <a:pt x="1067569" y="389136"/>
                  <a:pt x="1073419" y="374512"/>
                  <a:pt x="1079269" y="361350"/>
                </a:cubicBezTo>
                <a:cubicBezTo>
                  <a:pt x="1082194" y="355501"/>
                  <a:pt x="1085119" y="349651"/>
                  <a:pt x="1088043" y="345264"/>
                </a:cubicBezTo>
                <a:cubicBezTo>
                  <a:pt x="1090968" y="340876"/>
                  <a:pt x="1093893" y="336489"/>
                  <a:pt x="1096818" y="333564"/>
                </a:cubicBezTo>
                <a:cubicBezTo>
                  <a:pt x="1104130" y="324790"/>
                  <a:pt x="1111442" y="318940"/>
                  <a:pt x="1118754" y="316015"/>
                </a:cubicBezTo>
                <a:cubicBezTo>
                  <a:pt x="1128991" y="313090"/>
                  <a:pt x="1137766" y="311628"/>
                  <a:pt x="1146540" y="318940"/>
                </a:cubicBezTo>
                <a:cubicBezTo>
                  <a:pt x="1150928" y="323327"/>
                  <a:pt x="1150928" y="327715"/>
                  <a:pt x="1150928" y="332102"/>
                </a:cubicBezTo>
                <a:cubicBezTo>
                  <a:pt x="1150928" y="349651"/>
                  <a:pt x="1146540" y="365738"/>
                  <a:pt x="1140691" y="384749"/>
                </a:cubicBezTo>
                <a:cubicBezTo>
                  <a:pt x="1137766" y="393524"/>
                  <a:pt x="1133379" y="400836"/>
                  <a:pt x="1128991" y="411073"/>
                </a:cubicBezTo>
                <a:cubicBezTo>
                  <a:pt x="1124604" y="419847"/>
                  <a:pt x="1118754" y="428622"/>
                  <a:pt x="1111442" y="438859"/>
                </a:cubicBezTo>
                <a:cubicBezTo>
                  <a:pt x="1098280" y="457870"/>
                  <a:pt x="1079269" y="478344"/>
                  <a:pt x="1057332" y="494431"/>
                </a:cubicBezTo>
                <a:cubicBezTo>
                  <a:pt x="1036859" y="510518"/>
                  <a:pt x="1016385" y="522217"/>
                  <a:pt x="1001760" y="526604"/>
                </a:cubicBezTo>
                <a:cubicBezTo>
                  <a:pt x="994448" y="528067"/>
                  <a:pt x="990061" y="529529"/>
                  <a:pt x="984211" y="529529"/>
                </a:cubicBezTo>
                <a:cubicBezTo>
                  <a:pt x="979824" y="529529"/>
                  <a:pt x="975437" y="529529"/>
                  <a:pt x="969587" y="528067"/>
                </a:cubicBezTo>
                <a:cubicBezTo>
                  <a:pt x="960812" y="525142"/>
                  <a:pt x="952038" y="519292"/>
                  <a:pt x="944726" y="510518"/>
                </a:cubicBezTo>
                <a:cubicBezTo>
                  <a:pt x="941801" y="506130"/>
                  <a:pt x="938876" y="501743"/>
                  <a:pt x="935951" y="495893"/>
                </a:cubicBezTo>
                <a:cubicBezTo>
                  <a:pt x="931564" y="485656"/>
                  <a:pt x="930102" y="473957"/>
                  <a:pt x="931564" y="463720"/>
                </a:cubicBezTo>
                <a:cubicBezTo>
                  <a:pt x="933026" y="452021"/>
                  <a:pt x="935951" y="440321"/>
                  <a:pt x="943263" y="419847"/>
                </a:cubicBezTo>
                <a:cubicBezTo>
                  <a:pt x="950576" y="399373"/>
                  <a:pt x="963737" y="370125"/>
                  <a:pt x="979824" y="337952"/>
                </a:cubicBezTo>
                <a:cubicBezTo>
                  <a:pt x="997373" y="305778"/>
                  <a:pt x="1017847" y="269218"/>
                  <a:pt x="1038321" y="238507"/>
                </a:cubicBezTo>
                <a:cubicBezTo>
                  <a:pt x="1058795" y="207796"/>
                  <a:pt x="1077806" y="180010"/>
                  <a:pt x="1096818" y="159536"/>
                </a:cubicBezTo>
                <a:cubicBezTo>
                  <a:pt x="1111442" y="137600"/>
                  <a:pt x="1127529" y="120051"/>
                  <a:pt x="1142153" y="106889"/>
                </a:cubicBezTo>
                <a:cubicBezTo>
                  <a:pt x="1156777" y="93727"/>
                  <a:pt x="1168477" y="82028"/>
                  <a:pt x="1180176" y="73253"/>
                </a:cubicBezTo>
                <a:cubicBezTo>
                  <a:pt x="1191875" y="64478"/>
                  <a:pt x="1200650" y="58629"/>
                  <a:pt x="1210887" y="52779"/>
                </a:cubicBezTo>
                <a:cubicBezTo>
                  <a:pt x="1219662" y="48392"/>
                  <a:pt x="1228436" y="44005"/>
                  <a:pt x="1235748" y="41080"/>
                </a:cubicBezTo>
                <a:cubicBezTo>
                  <a:pt x="1256222" y="33768"/>
                  <a:pt x="1273771" y="32305"/>
                  <a:pt x="1294245" y="33768"/>
                </a:cubicBezTo>
                <a:cubicBezTo>
                  <a:pt x="1278159" y="42542"/>
                  <a:pt x="1263534" y="52779"/>
                  <a:pt x="1250372" y="63016"/>
                </a:cubicBezTo>
                <a:cubicBezTo>
                  <a:pt x="1222586" y="84952"/>
                  <a:pt x="1203575" y="106889"/>
                  <a:pt x="1190413" y="125900"/>
                </a:cubicBezTo>
                <a:cubicBezTo>
                  <a:pt x="1183101" y="136137"/>
                  <a:pt x="1178714" y="144912"/>
                  <a:pt x="1174326" y="152224"/>
                </a:cubicBezTo>
                <a:cubicBezTo>
                  <a:pt x="1169939" y="160998"/>
                  <a:pt x="1167014" y="168311"/>
                  <a:pt x="1165552" y="175623"/>
                </a:cubicBezTo>
                <a:cubicBezTo>
                  <a:pt x="1164089" y="182935"/>
                  <a:pt x="1162627" y="190247"/>
                  <a:pt x="1161165" y="194634"/>
                </a:cubicBezTo>
                <a:cubicBezTo>
                  <a:pt x="1161165" y="200484"/>
                  <a:pt x="1161165" y="203409"/>
                  <a:pt x="1161165" y="207796"/>
                </a:cubicBezTo>
                <a:cubicBezTo>
                  <a:pt x="1161165" y="210721"/>
                  <a:pt x="1162627" y="213646"/>
                  <a:pt x="1164089" y="216570"/>
                </a:cubicBezTo>
                <a:cubicBezTo>
                  <a:pt x="1165552" y="219495"/>
                  <a:pt x="1167014" y="220958"/>
                  <a:pt x="1168477" y="223883"/>
                </a:cubicBezTo>
                <a:cubicBezTo>
                  <a:pt x="1169939" y="225345"/>
                  <a:pt x="1172864" y="228270"/>
                  <a:pt x="1174326" y="229732"/>
                </a:cubicBezTo>
                <a:cubicBezTo>
                  <a:pt x="1177251" y="231195"/>
                  <a:pt x="1180176" y="232657"/>
                  <a:pt x="1183101" y="232657"/>
                </a:cubicBezTo>
                <a:cubicBezTo>
                  <a:pt x="1186026" y="234120"/>
                  <a:pt x="1190413" y="234120"/>
                  <a:pt x="1194800" y="234120"/>
                </a:cubicBezTo>
                <a:cubicBezTo>
                  <a:pt x="1203575" y="234120"/>
                  <a:pt x="1210887" y="232657"/>
                  <a:pt x="1221124" y="226807"/>
                </a:cubicBezTo>
                <a:cubicBezTo>
                  <a:pt x="1226974" y="223883"/>
                  <a:pt x="1232823" y="220958"/>
                  <a:pt x="1238673" y="216570"/>
                </a:cubicBezTo>
                <a:cubicBezTo>
                  <a:pt x="1244523" y="212183"/>
                  <a:pt x="1251835" y="206334"/>
                  <a:pt x="1259147" y="199021"/>
                </a:cubicBezTo>
                <a:cubicBezTo>
                  <a:pt x="1266459" y="191709"/>
                  <a:pt x="1273771" y="184397"/>
                  <a:pt x="1279621" y="174160"/>
                </a:cubicBezTo>
                <a:cubicBezTo>
                  <a:pt x="1286933" y="165386"/>
                  <a:pt x="1292783" y="155149"/>
                  <a:pt x="1298632" y="144912"/>
                </a:cubicBezTo>
                <a:cubicBezTo>
                  <a:pt x="1308869" y="125900"/>
                  <a:pt x="1317644" y="106889"/>
                  <a:pt x="1320569" y="90802"/>
                </a:cubicBezTo>
                <a:cubicBezTo>
                  <a:pt x="1322031" y="83490"/>
                  <a:pt x="1323494" y="76178"/>
                  <a:pt x="1324956" y="68866"/>
                </a:cubicBezTo>
                <a:cubicBezTo>
                  <a:pt x="1324956" y="67403"/>
                  <a:pt x="1324956" y="65941"/>
                  <a:pt x="1324956" y="61554"/>
                </a:cubicBezTo>
                <a:cubicBezTo>
                  <a:pt x="1324956" y="58629"/>
                  <a:pt x="1324956" y="52779"/>
                  <a:pt x="1324956" y="48392"/>
                </a:cubicBezTo>
                <a:cubicBezTo>
                  <a:pt x="1324956" y="44005"/>
                  <a:pt x="1324956" y="42542"/>
                  <a:pt x="1324956" y="39617"/>
                </a:cubicBezTo>
                <a:cubicBezTo>
                  <a:pt x="1342505" y="39617"/>
                  <a:pt x="1360054" y="41080"/>
                  <a:pt x="1377603" y="45467"/>
                </a:cubicBezTo>
                <a:cubicBezTo>
                  <a:pt x="1393690" y="49854"/>
                  <a:pt x="1409777" y="57166"/>
                  <a:pt x="1431713" y="70328"/>
                </a:cubicBezTo>
                <a:cubicBezTo>
                  <a:pt x="1453649" y="84952"/>
                  <a:pt x="1482898" y="105426"/>
                  <a:pt x="1510684" y="128825"/>
                </a:cubicBezTo>
                <a:lnTo>
                  <a:pt x="1563331" y="74715"/>
                </a:lnTo>
                <a:cubicBezTo>
                  <a:pt x="1545782" y="60091"/>
                  <a:pt x="1528233" y="45467"/>
                  <a:pt x="1512146" y="35230"/>
                </a:cubicBezTo>
                <a:cubicBezTo>
                  <a:pt x="1496060" y="24993"/>
                  <a:pt x="1482898" y="17681"/>
                  <a:pt x="1471198" y="13294"/>
                </a:cubicBezTo>
                <a:cubicBezTo>
                  <a:pt x="1459499" y="8906"/>
                  <a:pt x="1447800" y="4519"/>
                  <a:pt x="1439025" y="3057"/>
                </a:cubicBezTo>
                <a:cubicBezTo>
                  <a:pt x="1424401" y="132"/>
                  <a:pt x="1411239" y="-1331"/>
                  <a:pt x="1395152" y="1594"/>
                </a:cubicBezTo>
                <a:cubicBezTo>
                  <a:pt x="1389303" y="1594"/>
                  <a:pt x="1383453" y="3057"/>
                  <a:pt x="1371754" y="5982"/>
                </a:cubicBezTo>
                <a:cubicBezTo>
                  <a:pt x="1360054" y="8906"/>
                  <a:pt x="1342505" y="14756"/>
                  <a:pt x="1324956" y="20606"/>
                </a:cubicBezTo>
                <a:cubicBezTo>
                  <a:pt x="1316182" y="14756"/>
                  <a:pt x="1305944" y="8906"/>
                  <a:pt x="1298632" y="5982"/>
                </a:cubicBezTo>
                <a:cubicBezTo>
                  <a:pt x="1291320" y="3057"/>
                  <a:pt x="1286933" y="1594"/>
                  <a:pt x="1282546" y="1594"/>
                </a:cubicBezTo>
                <a:cubicBezTo>
                  <a:pt x="1264997" y="-1331"/>
                  <a:pt x="1248910" y="132"/>
                  <a:pt x="1228436" y="7444"/>
                </a:cubicBezTo>
                <a:cubicBezTo>
                  <a:pt x="1212349" y="11831"/>
                  <a:pt x="1194800" y="19143"/>
                  <a:pt x="1172864" y="30843"/>
                </a:cubicBezTo>
                <a:cubicBezTo>
                  <a:pt x="1150928" y="42542"/>
                  <a:pt x="1126066" y="58629"/>
                  <a:pt x="1099743" y="77640"/>
                </a:cubicBezTo>
                <a:cubicBezTo>
                  <a:pt x="1073419" y="96652"/>
                  <a:pt x="1047095" y="120051"/>
                  <a:pt x="1023697" y="143449"/>
                </a:cubicBezTo>
                <a:cubicBezTo>
                  <a:pt x="998835" y="168311"/>
                  <a:pt x="976899" y="193172"/>
                  <a:pt x="957888" y="218033"/>
                </a:cubicBezTo>
                <a:cubicBezTo>
                  <a:pt x="938876" y="242894"/>
                  <a:pt x="922789" y="266293"/>
                  <a:pt x="911090" y="288229"/>
                </a:cubicBezTo>
                <a:cubicBezTo>
                  <a:pt x="897928" y="310166"/>
                  <a:pt x="887691" y="330639"/>
                  <a:pt x="880379" y="351113"/>
                </a:cubicBezTo>
                <a:cubicBezTo>
                  <a:pt x="873067" y="370125"/>
                  <a:pt x="867217" y="389136"/>
                  <a:pt x="862830" y="405223"/>
                </a:cubicBezTo>
                <a:cubicBezTo>
                  <a:pt x="858443" y="422772"/>
                  <a:pt x="855518" y="437396"/>
                  <a:pt x="855518" y="450558"/>
                </a:cubicBezTo>
                <a:cubicBezTo>
                  <a:pt x="854056" y="463720"/>
                  <a:pt x="854056" y="472495"/>
                  <a:pt x="855518" y="482731"/>
                </a:cubicBezTo>
                <a:cubicBezTo>
                  <a:pt x="856980" y="491506"/>
                  <a:pt x="858443" y="500281"/>
                  <a:pt x="862830" y="509055"/>
                </a:cubicBezTo>
                <a:cubicBezTo>
                  <a:pt x="865755" y="517830"/>
                  <a:pt x="871605" y="525142"/>
                  <a:pt x="875992" y="532454"/>
                </a:cubicBezTo>
                <a:cubicBezTo>
                  <a:pt x="881842" y="539766"/>
                  <a:pt x="889154" y="545616"/>
                  <a:pt x="896466" y="551465"/>
                </a:cubicBezTo>
                <a:cubicBezTo>
                  <a:pt x="903778" y="555853"/>
                  <a:pt x="912552" y="560240"/>
                  <a:pt x="921327" y="563165"/>
                </a:cubicBezTo>
                <a:cubicBezTo>
                  <a:pt x="940338" y="569014"/>
                  <a:pt x="957888" y="569014"/>
                  <a:pt x="979824" y="563165"/>
                </a:cubicBezTo>
                <a:cubicBezTo>
                  <a:pt x="990061" y="560240"/>
                  <a:pt x="1003223" y="554390"/>
                  <a:pt x="1016385" y="547078"/>
                </a:cubicBezTo>
                <a:cubicBezTo>
                  <a:pt x="1044171" y="532454"/>
                  <a:pt x="1074882" y="507593"/>
                  <a:pt x="1098280" y="479807"/>
                </a:cubicBezTo>
                <a:cubicBezTo>
                  <a:pt x="1123142" y="452021"/>
                  <a:pt x="1140691" y="424235"/>
                  <a:pt x="1150928" y="397911"/>
                </a:cubicBezTo>
                <a:cubicBezTo>
                  <a:pt x="1152390" y="387674"/>
                  <a:pt x="1156777" y="374512"/>
                  <a:pt x="1159702" y="362813"/>
                </a:cubicBezTo>
                <a:close/>
                <a:moveTo>
                  <a:pt x="1301557" y="49854"/>
                </a:moveTo>
                <a:cubicBezTo>
                  <a:pt x="1300095" y="60091"/>
                  <a:pt x="1298632" y="70328"/>
                  <a:pt x="1295708" y="82028"/>
                </a:cubicBezTo>
                <a:cubicBezTo>
                  <a:pt x="1292783" y="93727"/>
                  <a:pt x="1288395" y="108351"/>
                  <a:pt x="1282546" y="120051"/>
                </a:cubicBezTo>
                <a:cubicBezTo>
                  <a:pt x="1276696" y="133212"/>
                  <a:pt x="1270846" y="144912"/>
                  <a:pt x="1266459" y="155149"/>
                </a:cubicBezTo>
                <a:cubicBezTo>
                  <a:pt x="1260609" y="165386"/>
                  <a:pt x="1256222" y="172698"/>
                  <a:pt x="1250372" y="180010"/>
                </a:cubicBezTo>
                <a:cubicBezTo>
                  <a:pt x="1237211" y="196097"/>
                  <a:pt x="1226974" y="204871"/>
                  <a:pt x="1215274" y="210721"/>
                </a:cubicBezTo>
                <a:cubicBezTo>
                  <a:pt x="1203575" y="215108"/>
                  <a:pt x="1193338" y="216570"/>
                  <a:pt x="1183101" y="210721"/>
                </a:cubicBezTo>
                <a:cubicBezTo>
                  <a:pt x="1180176" y="209258"/>
                  <a:pt x="1177251" y="204871"/>
                  <a:pt x="1177251" y="201946"/>
                </a:cubicBezTo>
                <a:cubicBezTo>
                  <a:pt x="1175789" y="190247"/>
                  <a:pt x="1178714" y="180010"/>
                  <a:pt x="1183101" y="168311"/>
                </a:cubicBezTo>
                <a:cubicBezTo>
                  <a:pt x="1184563" y="162461"/>
                  <a:pt x="1187488" y="158074"/>
                  <a:pt x="1191875" y="150761"/>
                </a:cubicBezTo>
                <a:cubicBezTo>
                  <a:pt x="1194800" y="144912"/>
                  <a:pt x="1200650" y="137600"/>
                  <a:pt x="1206500" y="130288"/>
                </a:cubicBezTo>
                <a:cubicBezTo>
                  <a:pt x="1212349" y="122975"/>
                  <a:pt x="1219662" y="114201"/>
                  <a:pt x="1229898" y="105426"/>
                </a:cubicBezTo>
                <a:cubicBezTo>
                  <a:pt x="1240135" y="96652"/>
                  <a:pt x="1251835" y="86415"/>
                  <a:pt x="1263534" y="76178"/>
                </a:cubicBezTo>
                <a:cubicBezTo>
                  <a:pt x="1275234" y="65941"/>
                  <a:pt x="1288395" y="57166"/>
                  <a:pt x="1301557" y="49854"/>
                </a:cubicBezTo>
                <a:close/>
                <a:moveTo>
                  <a:pt x="786784" y="335027"/>
                </a:moveTo>
                <a:cubicBezTo>
                  <a:pt x="776547" y="346726"/>
                  <a:pt x="772160" y="351113"/>
                  <a:pt x="769235" y="354038"/>
                </a:cubicBezTo>
                <a:cubicBezTo>
                  <a:pt x="766310" y="356963"/>
                  <a:pt x="763385" y="358426"/>
                  <a:pt x="761923" y="359888"/>
                </a:cubicBezTo>
                <a:cubicBezTo>
                  <a:pt x="757536" y="362813"/>
                  <a:pt x="753148" y="364275"/>
                  <a:pt x="750223" y="362813"/>
                </a:cubicBezTo>
                <a:cubicBezTo>
                  <a:pt x="747299" y="362813"/>
                  <a:pt x="744374" y="359888"/>
                  <a:pt x="744374" y="356963"/>
                </a:cubicBezTo>
                <a:cubicBezTo>
                  <a:pt x="744374" y="355501"/>
                  <a:pt x="744374" y="355501"/>
                  <a:pt x="745836" y="349651"/>
                </a:cubicBezTo>
                <a:cubicBezTo>
                  <a:pt x="747299" y="346726"/>
                  <a:pt x="748761" y="342339"/>
                  <a:pt x="754611" y="332102"/>
                </a:cubicBezTo>
                <a:cubicBezTo>
                  <a:pt x="760460" y="320403"/>
                  <a:pt x="769235" y="304316"/>
                  <a:pt x="778009" y="286767"/>
                </a:cubicBezTo>
                <a:lnTo>
                  <a:pt x="859905" y="147837"/>
                </a:lnTo>
                <a:lnTo>
                  <a:pt x="808720" y="147837"/>
                </a:lnTo>
                <a:lnTo>
                  <a:pt x="798483" y="159536"/>
                </a:lnTo>
                <a:cubicBezTo>
                  <a:pt x="791171" y="155149"/>
                  <a:pt x="783859" y="152224"/>
                  <a:pt x="779472" y="149299"/>
                </a:cubicBezTo>
                <a:cubicBezTo>
                  <a:pt x="775085" y="146374"/>
                  <a:pt x="770697" y="146374"/>
                  <a:pt x="767773" y="146374"/>
                </a:cubicBezTo>
                <a:cubicBezTo>
                  <a:pt x="764848" y="146374"/>
                  <a:pt x="760460" y="144912"/>
                  <a:pt x="757536" y="144912"/>
                </a:cubicBezTo>
                <a:cubicBezTo>
                  <a:pt x="745836" y="144912"/>
                  <a:pt x="732674" y="147837"/>
                  <a:pt x="718050" y="156611"/>
                </a:cubicBezTo>
                <a:cubicBezTo>
                  <a:pt x="712200" y="159536"/>
                  <a:pt x="706351" y="163923"/>
                  <a:pt x="697576" y="171235"/>
                </a:cubicBezTo>
                <a:cubicBezTo>
                  <a:pt x="690264" y="177085"/>
                  <a:pt x="680027" y="185860"/>
                  <a:pt x="661016" y="206334"/>
                </a:cubicBezTo>
                <a:cubicBezTo>
                  <a:pt x="643467" y="226807"/>
                  <a:pt x="615680" y="258981"/>
                  <a:pt x="593744" y="285304"/>
                </a:cubicBezTo>
                <a:cubicBezTo>
                  <a:pt x="571808" y="311628"/>
                  <a:pt x="554259" y="332102"/>
                  <a:pt x="541097" y="345264"/>
                </a:cubicBezTo>
                <a:cubicBezTo>
                  <a:pt x="527935" y="358426"/>
                  <a:pt x="520623" y="364275"/>
                  <a:pt x="514773" y="368662"/>
                </a:cubicBezTo>
                <a:cubicBezTo>
                  <a:pt x="508924" y="373050"/>
                  <a:pt x="504536" y="375975"/>
                  <a:pt x="500149" y="377437"/>
                </a:cubicBezTo>
                <a:cubicBezTo>
                  <a:pt x="498687" y="381824"/>
                  <a:pt x="494299" y="383287"/>
                  <a:pt x="491374" y="383287"/>
                </a:cubicBezTo>
                <a:cubicBezTo>
                  <a:pt x="482600" y="384749"/>
                  <a:pt x="473825" y="384749"/>
                  <a:pt x="466513" y="380362"/>
                </a:cubicBezTo>
                <a:cubicBezTo>
                  <a:pt x="462126" y="377437"/>
                  <a:pt x="462126" y="374512"/>
                  <a:pt x="460664" y="370125"/>
                </a:cubicBezTo>
                <a:cubicBezTo>
                  <a:pt x="459201" y="359888"/>
                  <a:pt x="460664" y="352576"/>
                  <a:pt x="462126" y="342339"/>
                </a:cubicBezTo>
                <a:cubicBezTo>
                  <a:pt x="463588" y="336489"/>
                  <a:pt x="465051" y="330639"/>
                  <a:pt x="467976" y="323327"/>
                </a:cubicBezTo>
                <a:cubicBezTo>
                  <a:pt x="470900" y="316015"/>
                  <a:pt x="473825" y="307241"/>
                  <a:pt x="479675" y="298466"/>
                </a:cubicBezTo>
                <a:cubicBezTo>
                  <a:pt x="484062" y="288229"/>
                  <a:pt x="491374" y="277992"/>
                  <a:pt x="498687" y="266293"/>
                </a:cubicBezTo>
                <a:cubicBezTo>
                  <a:pt x="514773" y="242894"/>
                  <a:pt x="536710" y="216570"/>
                  <a:pt x="554259" y="200484"/>
                </a:cubicBezTo>
                <a:cubicBezTo>
                  <a:pt x="563033" y="191709"/>
                  <a:pt x="570345" y="185860"/>
                  <a:pt x="576195" y="182935"/>
                </a:cubicBezTo>
                <a:cubicBezTo>
                  <a:pt x="582045" y="178547"/>
                  <a:pt x="584970" y="177085"/>
                  <a:pt x="587894" y="175623"/>
                </a:cubicBezTo>
                <a:cubicBezTo>
                  <a:pt x="590819" y="174160"/>
                  <a:pt x="592282" y="174160"/>
                  <a:pt x="595206" y="174160"/>
                </a:cubicBezTo>
                <a:cubicBezTo>
                  <a:pt x="598131" y="174160"/>
                  <a:pt x="601056" y="174160"/>
                  <a:pt x="602519" y="177085"/>
                </a:cubicBezTo>
                <a:cubicBezTo>
                  <a:pt x="605443" y="180010"/>
                  <a:pt x="605443" y="181472"/>
                  <a:pt x="606906" y="185860"/>
                </a:cubicBezTo>
                <a:cubicBezTo>
                  <a:pt x="606906" y="187322"/>
                  <a:pt x="606906" y="190247"/>
                  <a:pt x="606906" y="193172"/>
                </a:cubicBezTo>
                <a:cubicBezTo>
                  <a:pt x="602519" y="194634"/>
                  <a:pt x="596669" y="194634"/>
                  <a:pt x="593744" y="196097"/>
                </a:cubicBezTo>
                <a:cubicBezTo>
                  <a:pt x="589357" y="197559"/>
                  <a:pt x="586432" y="199021"/>
                  <a:pt x="584970" y="200484"/>
                </a:cubicBezTo>
                <a:cubicBezTo>
                  <a:pt x="582045" y="201946"/>
                  <a:pt x="580582" y="203409"/>
                  <a:pt x="579120" y="204871"/>
                </a:cubicBezTo>
                <a:cubicBezTo>
                  <a:pt x="567420" y="213646"/>
                  <a:pt x="565958" y="225345"/>
                  <a:pt x="565958" y="232657"/>
                </a:cubicBezTo>
                <a:cubicBezTo>
                  <a:pt x="565958" y="235582"/>
                  <a:pt x="568883" y="239969"/>
                  <a:pt x="571808" y="242894"/>
                </a:cubicBezTo>
                <a:cubicBezTo>
                  <a:pt x="580582" y="250206"/>
                  <a:pt x="592282" y="245819"/>
                  <a:pt x="605443" y="231195"/>
                </a:cubicBezTo>
                <a:cubicBezTo>
                  <a:pt x="606906" y="228270"/>
                  <a:pt x="609831" y="225345"/>
                  <a:pt x="611293" y="222420"/>
                </a:cubicBezTo>
                <a:cubicBezTo>
                  <a:pt x="618605" y="212183"/>
                  <a:pt x="621530" y="201946"/>
                  <a:pt x="624455" y="193172"/>
                </a:cubicBezTo>
                <a:cubicBezTo>
                  <a:pt x="627380" y="180010"/>
                  <a:pt x="627380" y="163923"/>
                  <a:pt x="611293" y="150761"/>
                </a:cubicBezTo>
                <a:cubicBezTo>
                  <a:pt x="605443" y="146374"/>
                  <a:pt x="599594" y="144912"/>
                  <a:pt x="592282" y="144912"/>
                </a:cubicBezTo>
                <a:cubicBezTo>
                  <a:pt x="587894" y="144912"/>
                  <a:pt x="583507" y="144912"/>
                  <a:pt x="577657" y="146374"/>
                </a:cubicBezTo>
                <a:cubicBezTo>
                  <a:pt x="571808" y="147837"/>
                  <a:pt x="567420" y="149299"/>
                  <a:pt x="560108" y="152224"/>
                </a:cubicBezTo>
                <a:cubicBezTo>
                  <a:pt x="554259" y="155149"/>
                  <a:pt x="546947" y="158074"/>
                  <a:pt x="533785" y="168311"/>
                </a:cubicBezTo>
                <a:cubicBezTo>
                  <a:pt x="520623" y="178547"/>
                  <a:pt x="501611" y="196097"/>
                  <a:pt x="486987" y="209258"/>
                </a:cubicBezTo>
                <a:cubicBezTo>
                  <a:pt x="472363" y="222420"/>
                  <a:pt x="460664" y="229732"/>
                  <a:pt x="451889" y="235582"/>
                </a:cubicBezTo>
                <a:cubicBezTo>
                  <a:pt x="443114" y="241432"/>
                  <a:pt x="434340" y="245819"/>
                  <a:pt x="427028" y="248744"/>
                </a:cubicBezTo>
                <a:cubicBezTo>
                  <a:pt x="419716" y="251669"/>
                  <a:pt x="412404" y="254594"/>
                  <a:pt x="405091" y="256056"/>
                </a:cubicBezTo>
                <a:cubicBezTo>
                  <a:pt x="409479" y="245819"/>
                  <a:pt x="413866" y="235582"/>
                  <a:pt x="416791" y="226807"/>
                </a:cubicBezTo>
                <a:cubicBezTo>
                  <a:pt x="419716" y="218033"/>
                  <a:pt x="422640" y="210721"/>
                  <a:pt x="424103" y="204871"/>
                </a:cubicBezTo>
                <a:cubicBezTo>
                  <a:pt x="425565" y="199021"/>
                  <a:pt x="425565" y="196097"/>
                  <a:pt x="427028" y="191709"/>
                </a:cubicBezTo>
                <a:cubicBezTo>
                  <a:pt x="427028" y="184397"/>
                  <a:pt x="427028" y="175623"/>
                  <a:pt x="424103" y="169773"/>
                </a:cubicBezTo>
                <a:cubicBezTo>
                  <a:pt x="422640" y="166848"/>
                  <a:pt x="421178" y="163923"/>
                  <a:pt x="419716" y="162461"/>
                </a:cubicBezTo>
                <a:cubicBezTo>
                  <a:pt x="415328" y="156611"/>
                  <a:pt x="412404" y="153686"/>
                  <a:pt x="406554" y="152224"/>
                </a:cubicBezTo>
                <a:cubicBezTo>
                  <a:pt x="394854" y="146374"/>
                  <a:pt x="384617" y="147837"/>
                  <a:pt x="371456" y="150761"/>
                </a:cubicBezTo>
                <a:cubicBezTo>
                  <a:pt x="364144" y="152224"/>
                  <a:pt x="356831" y="155149"/>
                  <a:pt x="349519" y="159536"/>
                </a:cubicBezTo>
                <a:cubicBezTo>
                  <a:pt x="340745" y="163923"/>
                  <a:pt x="331970" y="169773"/>
                  <a:pt x="320271" y="177085"/>
                </a:cubicBezTo>
                <a:cubicBezTo>
                  <a:pt x="310034" y="184397"/>
                  <a:pt x="298334" y="194634"/>
                  <a:pt x="286635" y="204871"/>
                </a:cubicBezTo>
                <a:cubicBezTo>
                  <a:pt x="274936" y="216570"/>
                  <a:pt x="263236" y="228270"/>
                  <a:pt x="252999" y="241432"/>
                </a:cubicBezTo>
                <a:cubicBezTo>
                  <a:pt x="232525" y="267755"/>
                  <a:pt x="216439" y="294079"/>
                  <a:pt x="207664" y="316015"/>
                </a:cubicBezTo>
                <a:cubicBezTo>
                  <a:pt x="203277" y="327715"/>
                  <a:pt x="200352" y="336489"/>
                  <a:pt x="197427" y="346726"/>
                </a:cubicBezTo>
                <a:cubicBezTo>
                  <a:pt x="191578" y="354038"/>
                  <a:pt x="190115" y="362813"/>
                  <a:pt x="190115" y="368662"/>
                </a:cubicBezTo>
                <a:cubicBezTo>
                  <a:pt x="190115" y="375975"/>
                  <a:pt x="190115" y="380362"/>
                  <a:pt x="190115" y="384749"/>
                </a:cubicBezTo>
                <a:cubicBezTo>
                  <a:pt x="190115" y="389136"/>
                  <a:pt x="191578" y="393524"/>
                  <a:pt x="193040" y="396449"/>
                </a:cubicBezTo>
                <a:cubicBezTo>
                  <a:pt x="194502" y="400836"/>
                  <a:pt x="195965" y="403761"/>
                  <a:pt x="197427" y="406686"/>
                </a:cubicBezTo>
                <a:cubicBezTo>
                  <a:pt x="198890" y="409610"/>
                  <a:pt x="201814" y="412535"/>
                  <a:pt x="204739" y="413998"/>
                </a:cubicBezTo>
                <a:cubicBezTo>
                  <a:pt x="207664" y="415460"/>
                  <a:pt x="210589" y="418385"/>
                  <a:pt x="214976" y="418385"/>
                </a:cubicBezTo>
                <a:cubicBezTo>
                  <a:pt x="219364" y="419847"/>
                  <a:pt x="223751" y="419847"/>
                  <a:pt x="228138" y="419847"/>
                </a:cubicBezTo>
                <a:cubicBezTo>
                  <a:pt x="232525" y="419847"/>
                  <a:pt x="238375" y="418385"/>
                  <a:pt x="244225" y="418385"/>
                </a:cubicBezTo>
                <a:cubicBezTo>
                  <a:pt x="250074" y="416922"/>
                  <a:pt x="255924" y="415460"/>
                  <a:pt x="261774" y="412535"/>
                </a:cubicBezTo>
                <a:cubicBezTo>
                  <a:pt x="267624" y="409610"/>
                  <a:pt x="274936" y="405223"/>
                  <a:pt x="282248" y="400836"/>
                </a:cubicBezTo>
                <a:cubicBezTo>
                  <a:pt x="289560" y="394986"/>
                  <a:pt x="298334" y="387674"/>
                  <a:pt x="308571" y="378899"/>
                </a:cubicBezTo>
                <a:cubicBezTo>
                  <a:pt x="318808" y="368662"/>
                  <a:pt x="329045" y="356963"/>
                  <a:pt x="343670" y="337952"/>
                </a:cubicBezTo>
                <a:cubicBezTo>
                  <a:pt x="358294" y="320403"/>
                  <a:pt x="374381" y="295541"/>
                  <a:pt x="390467" y="270680"/>
                </a:cubicBezTo>
                <a:lnTo>
                  <a:pt x="429953" y="261906"/>
                </a:lnTo>
                <a:cubicBezTo>
                  <a:pt x="418253" y="283842"/>
                  <a:pt x="408016" y="304316"/>
                  <a:pt x="400704" y="318940"/>
                </a:cubicBezTo>
                <a:cubicBezTo>
                  <a:pt x="394854" y="333564"/>
                  <a:pt x="391930" y="339414"/>
                  <a:pt x="391930" y="345264"/>
                </a:cubicBezTo>
                <a:cubicBezTo>
                  <a:pt x="387542" y="365738"/>
                  <a:pt x="386080" y="386212"/>
                  <a:pt x="394854" y="402298"/>
                </a:cubicBezTo>
                <a:cubicBezTo>
                  <a:pt x="397779" y="406686"/>
                  <a:pt x="400704" y="411073"/>
                  <a:pt x="405091" y="415460"/>
                </a:cubicBezTo>
                <a:cubicBezTo>
                  <a:pt x="409479" y="418385"/>
                  <a:pt x="415328" y="421310"/>
                  <a:pt x="421178" y="424235"/>
                </a:cubicBezTo>
                <a:cubicBezTo>
                  <a:pt x="427028" y="425697"/>
                  <a:pt x="434340" y="427159"/>
                  <a:pt x="441652" y="427159"/>
                </a:cubicBezTo>
                <a:cubicBezTo>
                  <a:pt x="459201" y="427159"/>
                  <a:pt x="475288" y="422772"/>
                  <a:pt x="497224" y="409610"/>
                </a:cubicBezTo>
                <a:cubicBezTo>
                  <a:pt x="504536" y="405223"/>
                  <a:pt x="513311" y="399373"/>
                  <a:pt x="523548" y="389136"/>
                </a:cubicBezTo>
                <a:cubicBezTo>
                  <a:pt x="535247" y="378899"/>
                  <a:pt x="548409" y="365738"/>
                  <a:pt x="563033" y="349651"/>
                </a:cubicBezTo>
                <a:cubicBezTo>
                  <a:pt x="561571" y="362813"/>
                  <a:pt x="561571" y="375975"/>
                  <a:pt x="561571" y="383287"/>
                </a:cubicBezTo>
                <a:cubicBezTo>
                  <a:pt x="561571" y="392061"/>
                  <a:pt x="561571" y="394986"/>
                  <a:pt x="563033" y="397911"/>
                </a:cubicBezTo>
                <a:cubicBezTo>
                  <a:pt x="563033" y="400836"/>
                  <a:pt x="564496" y="403761"/>
                  <a:pt x="564496" y="405223"/>
                </a:cubicBezTo>
                <a:cubicBezTo>
                  <a:pt x="565958" y="406686"/>
                  <a:pt x="565958" y="408148"/>
                  <a:pt x="567420" y="409610"/>
                </a:cubicBezTo>
                <a:cubicBezTo>
                  <a:pt x="570345" y="415460"/>
                  <a:pt x="574733" y="416922"/>
                  <a:pt x="579120" y="418385"/>
                </a:cubicBezTo>
                <a:cubicBezTo>
                  <a:pt x="593744" y="422772"/>
                  <a:pt x="605443" y="419847"/>
                  <a:pt x="620068" y="413998"/>
                </a:cubicBezTo>
                <a:cubicBezTo>
                  <a:pt x="625917" y="411073"/>
                  <a:pt x="631767" y="408148"/>
                  <a:pt x="639079" y="402298"/>
                </a:cubicBezTo>
                <a:cubicBezTo>
                  <a:pt x="646391" y="396449"/>
                  <a:pt x="656628" y="389136"/>
                  <a:pt x="665403" y="380362"/>
                </a:cubicBezTo>
                <a:cubicBezTo>
                  <a:pt x="665403" y="386212"/>
                  <a:pt x="663940" y="390599"/>
                  <a:pt x="665403" y="394986"/>
                </a:cubicBezTo>
                <a:cubicBezTo>
                  <a:pt x="665403" y="399373"/>
                  <a:pt x="665403" y="400836"/>
                  <a:pt x="666865" y="403761"/>
                </a:cubicBezTo>
                <a:cubicBezTo>
                  <a:pt x="666865" y="406686"/>
                  <a:pt x="668328" y="409610"/>
                  <a:pt x="669790" y="412535"/>
                </a:cubicBezTo>
                <a:cubicBezTo>
                  <a:pt x="674177" y="418385"/>
                  <a:pt x="680027" y="419847"/>
                  <a:pt x="687339" y="421310"/>
                </a:cubicBezTo>
                <a:cubicBezTo>
                  <a:pt x="690264" y="421310"/>
                  <a:pt x="693189" y="421310"/>
                  <a:pt x="697576" y="421310"/>
                </a:cubicBezTo>
                <a:cubicBezTo>
                  <a:pt x="710738" y="421310"/>
                  <a:pt x="725362" y="416922"/>
                  <a:pt x="741449" y="405223"/>
                </a:cubicBezTo>
                <a:cubicBezTo>
                  <a:pt x="750223" y="399373"/>
                  <a:pt x="758998" y="392061"/>
                  <a:pt x="769235" y="381824"/>
                </a:cubicBezTo>
                <a:cubicBezTo>
                  <a:pt x="779472" y="371587"/>
                  <a:pt x="791171" y="358426"/>
                  <a:pt x="802871" y="342339"/>
                </a:cubicBezTo>
                <a:cubicBezTo>
                  <a:pt x="814570" y="326252"/>
                  <a:pt x="826270" y="307241"/>
                  <a:pt x="837969" y="286767"/>
                </a:cubicBezTo>
                <a:lnTo>
                  <a:pt x="827732" y="283842"/>
                </a:lnTo>
                <a:cubicBezTo>
                  <a:pt x="811645" y="305778"/>
                  <a:pt x="797021" y="323327"/>
                  <a:pt x="786784" y="335027"/>
                </a:cubicBezTo>
                <a:close/>
                <a:moveTo>
                  <a:pt x="329045" y="333564"/>
                </a:moveTo>
                <a:cubicBezTo>
                  <a:pt x="318808" y="348189"/>
                  <a:pt x="312959" y="352576"/>
                  <a:pt x="310034" y="355501"/>
                </a:cubicBezTo>
                <a:cubicBezTo>
                  <a:pt x="305647" y="358426"/>
                  <a:pt x="302722" y="361350"/>
                  <a:pt x="301259" y="362813"/>
                </a:cubicBezTo>
                <a:cubicBezTo>
                  <a:pt x="298334" y="364275"/>
                  <a:pt x="296872" y="365738"/>
                  <a:pt x="293947" y="367200"/>
                </a:cubicBezTo>
                <a:cubicBezTo>
                  <a:pt x="283710" y="371587"/>
                  <a:pt x="272011" y="373050"/>
                  <a:pt x="264699" y="361350"/>
                </a:cubicBezTo>
                <a:cubicBezTo>
                  <a:pt x="261774" y="356963"/>
                  <a:pt x="261774" y="352576"/>
                  <a:pt x="261774" y="346726"/>
                </a:cubicBezTo>
                <a:cubicBezTo>
                  <a:pt x="261774" y="343801"/>
                  <a:pt x="263236" y="337952"/>
                  <a:pt x="264699" y="332102"/>
                </a:cubicBezTo>
                <a:cubicBezTo>
                  <a:pt x="266161" y="326252"/>
                  <a:pt x="269086" y="318940"/>
                  <a:pt x="274936" y="308703"/>
                </a:cubicBezTo>
                <a:cubicBezTo>
                  <a:pt x="279323" y="298466"/>
                  <a:pt x="286635" y="286767"/>
                  <a:pt x="295410" y="273605"/>
                </a:cubicBezTo>
                <a:cubicBezTo>
                  <a:pt x="304184" y="260443"/>
                  <a:pt x="315884" y="245819"/>
                  <a:pt x="327583" y="232657"/>
                </a:cubicBezTo>
                <a:cubicBezTo>
                  <a:pt x="331970" y="239969"/>
                  <a:pt x="337820" y="245819"/>
                  <a:pt x="342207" y="251669"/>
                </a:cubicBezTo>
                <a:cubicBezTo>
                  <a:pt x="346594" y="256056"/>
                  <a:pt x="349519" y="258981"/>
                  <a:pt x="355369" y="261906"/>
                </a:cubicBezTo>
                <a:cubicBezTo>
                  <a:pt x="359756" y="264830"/>
                  <a:pt x="367068" y="267755"/>
                  <a:pt x="374381" y="270680"/>
                </a:cubicBezTo>
                <a:cubicBezTo>
                  <a:pt x="356831" y="294079"/>
                  <a:pt x="339282" y="318940"/>
                  <a:pt x="329045" y="333564"/>
                </a:cubicBezTo>
                <a:close/>
                <a:moveTo>
                  <a:pt x="400704" y="204871"/>
                </a:moveTo>
                <a:cubicBezTo>
                  <a:pt x="400704" y="207796"/>
                  <a:pt x="399242" y="212183"/>
                  <a:pt x="399242" y="215108"/>
                </a:cubicBezTo>
                <a:cubicBezTo>
                  <a:pt x="397779" y="218033"/>
                  <a:pt x="397779" y="222420"/>
                  <a:pt x="394854" y="228270"/>
                </a:cubicBezTo>
                <a:cubicBezTo>
                  <a:pt x="391930" y="234120"/>
                  <a:pt x="387542" y="242894"/>
                  <a:pt x="383155" y="251669"/>
                </a:cubicBezTo>
                <a:cubicBezTo>
                  <a:pt x="377305" y="250206"/>
                  <a:pt x="371456" y="247281"/>
                  <a:pt x="367068" y="245819"/>
                </a:cubicBezTo>
                <a:cubicBezTo>
                  <a:pt x="362681" y="242894"/>
                  <a:pt x="359756" y="241432"/>
                  <a:pt x="356831" y="239969"/>
                </a:cubicBezTo>
                <a:cubicBezTo>
                  <a:pt x="353907" y="238507"/>
                  <a:pt x="352444" y="237044"/>
                  <a:pt x="350982" y="234120"/>
                </a:cubicBezTo>
                <a:cubicBezTo>
                  <a:pt x="349519" y="232657"/>
                  <a:pt x="348057" y="231195"/>
                  <a:pt x="346594" y="229732"/>
                </a:cubicBezTo>
                <a:cubicBezTo>
                  <a:pt x="339282" y="216570"/>
                  <a:pt x="339282" y="201946"/>
                  <a:pt x="353907" y="188784"/>
                </a:cubicBezTo>
                <a:cubicBezTo>
                  <a:pt x="355369" y="187322"/>
                  <a:pt x="358294" y="184397"/>
                  <a:pt x="361219" y="182935"/>
                </a:cubicBezTo>
                <a:cubicBezTo>
                  <a:pt x="364144" y="181472"/>
                  <a:pt x="367068" y="180010"/>
                  <a:pt x="369993" y="178547"/>
                </a:cubicBezTo>
                <a:cubicBezTo>
                  <a:pt x="378768" y="175623"/>
                  <a:pt x="386080" y="172698"/>
                  <a:pt x="393392" y="178547"/>
                </a:cubicBezTo>
                <a:cubicBezTo>
                  <a:pt x="402167" y="187322"/>
                  <a:pt x="400704" y="196097"/>
                  <a:pt x="400704" y="204871"/>
                </a:cubicBezTo>
                <a:close/>
                <a:moveTo>
                  <a:pt x="696114" y="321865"/>
                </a:moveTo>
                <a:cubicBezTo>
                  <a:pt x="691727" y="329177"/>
                  <a:pt x="685877" y="336489"/>
                  <a:pt x="681490" y="342339"/>
                </a:cubicBezTo>
                <a:cubicBezTo>
                  <a:pt x="677102" y="348189"/>
                  <a:pt x="674177" y="352576"/>
                  <a:pt x="669790" y="355501"/>
                </a:cubicBezTo>
                <a:cubicBezTo>
                  <a:pt x="666865" y="358426"/>
                  <a:pt x="663940" y="361350"/>
                  <a:pt x="661016" y="362813"/>
                </a:cubicBezTo>
                <a:cubicBezTo>
                  <a:pt x="656628" y="365738"/>
                  <a:pt x="653703" y="367200"/>
                  <a:pt x="650779" y="368662"/>
                </a:cubicBezTo>
                <a:cubicBezTo>
                  <a:pt x="646391" y="370125"/>
                  <a:pt x="640542" y="368662"/>
                  <a:pt x="636154" y="364275"/>
                </a:cubicBezTo>
                <a:cubicBezTo>
                  <a:pt x="631767" y="358426"/>
                  <a:pt x="631767" y="355501"/>
                  <a:pt x="631767" y="349651"/>
                </a:cubicBezTo>
                <a:cubicBezTo>
                  <a:pt x="631767" y="346726"/>
                  <a:pt x="633230" y="343801"/>
                  <a:pt x="633230" y="339414"/>
                </a:cubicBezTo>
                <a:cubicBezTo>
                  <a:pt x="634692" y="335027"/>
                  <a:pt x="636154" y="329177"/>
                  <a:pt x="639079" y="323327"/>
                </a:cubicBezTo>
                <a:cubicBezTo>
                  <a:pt x="642004" y="316015"/>
                  <a:pt x="646391" y="308703"/>
                  <a:pt x="652241" y="297004"/>
                </a:cubicBezTo>
                <a:cubicBezTo>
                  <a:pt x="658091" y="286767"/>
                  <a:pt x="666865" y="273605"/>
                  <a:pt x="675640" y="260443"/>
                </a:cubicBezTo>
                <a:cubicBezTo>
                  <a:pt x="685877" y="247281"/>
                  <a:pt x="696114" y="232657"/>
                  <a:pt x="706351" y="222420"/>
                </a:cubicBezTo>
                <a:cubicBezTo>
                  <a:pt x="716588" y="210721"/>
                  <a:pt x="725362" y="201946"/>
                  <a:pt x="732674" y="194634"/>
                </a:cubicBezTo>
                <a:cubicBezTo>
                  <a:pt x="739986" y="187322"/>
                  <a:pt x="745836" y="184397"/>
                  <a:pt x="748761" y="181472"/>
                </a:cubicBezTo>
                <a:cubicBezTo>
                  <a:pt x="753148" y="178547"/>
                  <a:pt x="756073" y="177085"/>
                  <a:pt x="757536" y="177085"/>
                </a:cubicBezTo>
                <a:cubicBezTo>
                  <a:pt x="761923" y="175623"/>
                  <a:pt x="764848" y="175623"/>
                  <a:pt x="769235" y="177085"/>
                </a:cubicBezTo>
                <a:cubicBezTo>
                  <a:pt x="775085" y="181472"/>
                  <a:pt x="772160" y="188784"/>
                  <a:pt x="772160" y="193172"/>
                </a:cubicBezTo>
                <a:cubicBezTo>
                  <a:pt x="772160" y="194634"/>
                  <a:pt x="770697" y="196097"/>
                  <a:pt x="767773" y="200484"/>
                </a:cubicBezTo>
                <a:cubicBezTo>
                  <a:pt x="764848" y="204871"/>
                  <a:pt x="758998" y="213646"/>
                  <a:pt x="754611" y="222420"/>
                </a:cubicBezTo>
                <a:lnTo>
                  <a:pt x="696114" y="321865"/>
                </a:lnTo>
                <a:close/>
                <a:moveTo>
                  <a:pt x="1713961" y="548541"/>
                </a:moveTo>
                <a:lnTo>
                  <a:pt x="1709574" y="530991"/>
                </a:lnTo>
                <a:lnTo>
                  <a:pt x="1702261" y="530991"/>
                </a:lnTo>
                <a:lnTo>
                  <a:pt x="1702261" y="557315"/>
                </a:lnTo>
                <a:lnTo>
                  <a:pt x="1706649" y="557315"/>
                </a:lnTo>
                <a:lnTo>
                  <a:pt x="1706649" y="536841"/>
                </a:lnTo>
                <a:lnTo>
                  <a:pt x="1712498" y="557315"/>
                </a:lnTo>
                <a:lnTo>
                  <a:pt x="1718348" y="557315"/>
                </a:lnTo>
                <a:lnTo>
                  <a:pt x="1724198" y="536841"/>
                </a:lnTo>
                <a:lnTo>
                  <a:pt x="1724198" y="557315"/>
                </a:lnTo>
                <a:lnTo>
                  <a:pt x="1728585" y="557315"/>
                </a:lnTo>
                <a:lnTo>
                  <a:pt x="1728585" y="530991"/>
                </a:lnTo>
                <a:lnTo>
                  <a:pt x="1721273" y="530991"/>
                </a:lnTo>
                <a:lnTo>
                  <a:pt x="1713961" y="548541"/>
                </a:lnTo>
                <a:close/>
                <a:moveTo>
                  <a:pt x="1749059" y="548541"/>
                </a:moveTo>
                <a:cubicBezTo>
                  <a:pt x="1747597" y="547078"/>
                  <a:pt x="1747597" y="547078"/>
                  <a:pt x="1746134" y="547078"/>
                </a:cubicBezTo>
                <a:cubicBezTo>
                  <a:pt x="1749059" y="547078"/>
                  <a:pt x="1750521" y="545616"/>
                  <a:pt x="1751984" y="544153"/>
                </a:cubicBezTo>
                <a:cubicBezTo>
                  <a:pt x="1753446" y="542691"/>
                  <a:pt x="1753446" y="541228"/>
                  <a:pt x="1753446" y="539766"/>
                </a:cubicBezTo>
                <a:cubicBezTo>
                  <a:pt x="1753446" y="538304"/>
                  <a:pt x="1753446" y="536841"/>
                  <a:pt x="1751984" y="535379"/>
                </a:cubicBezTo>
                <a:cubicBezTo>
                  <a:pt x="1750521" y="533916"/>
                  <a:pt x="1750521" y="533916"/>
                  <a:pt x="1749059" y="532454"/>
                </a:cubicBezTo>
                <a:cubicBezTo>
                  <a:pt x="1747597" y="532454"/>
                  <a:pt x="1746134" y="532454"/>
                  <a:pt x="1743209" y="532454"/>
                </a:cubicBezTo>
                <a:lnTo>
                  <a:pt x="1731510" y="532454"/>
                </a:lnTo>
                <a:lnTo>
                  <a:pt x="1731510" y="558778"/>
                </a:lnTo>
                <a:lnTo>
                  <a:pt x="1737360" y="558778"/>
                </a:lnTo>
                <a:lnTo>
                  <a:pt x="1737360" y="548541"/>
                </a:lnTo>
                <a:lnTo>
                  <a:pt x="1738822" y="548541"/>
                </a:lnTo>
                <a:cubicBezTo>
                  <a:pt x="1740284" y="548541"/>
                  <a:pt x="1740284" y="548541"/>
                  <a:pt x="1741747" y="548541"/>
                </a:cubicBezTo>
                <a:cubicBezTo>
                  <a:pt x="1741747" y="548541"/>
                  <a:pt x="1743209" y="548541"/>
                  <a:pt x="1743209" y="550003"/>
                </a:cubicBezTo>
                <a:cubicBezTo>
                  <a:pt x="1743209" y="550003"/>
                  <a:pt x="1744672" y="551465"/>
                  <a:pt x="1746134" y="554390"/>
                </a:cubicBezTo>
                <a:lnTo>
                  <a:pt x="1750521" y="560240"/>
                </a:lnTo>
                <a:lnTo>
                  <a:pt x="1756371" y="560240"/>
                </a:lnTo>
                <a:lnTo>
                  <a:pt x="1753446" y="555853"/>
                </a:lnTo>
                <a:cubicBezTo>
                  <a:pt x="1750521" y="550003"/>
                  <a:pt x="1749059" y="548541"/>
                  <a:pt x="1749059" y="548541"/>
                </a:cubicBezTo>
                <a:close/>
                <a:moveTo>
                  <a:pt x="1740284" y="542691"/>
                </a:moveTo>
                <a:lnTo>
                  <a:pt x="1735897" y="542691"/>
                </a:lnTo>
                <a:lnTo>
                  <a:pt x="1735897" y="536841"/>
                </a:lnTo>
                <a:lnTo>
                  <a:pt x="1740284" y="536841"/>
                </a:lnTo>
                <a:cubicBezTo>
                  <a:pt x="1741747" y="536841"/>
                  <a:pt x="1743209" y="536841"/>
                  <a:pt x="1744672" y="536841"/>
                </a:cubicBezTo>
                <a:cubicBezTo>
                  <a:pt x="1746134" y="536841"/>
                  <a:pt x="1746134" y="536841"/>
                  <a:pt x="1746134" y="538304"/>
                </a:cubicBezTo>
                <a:cubicBezTo>
                  <a:pt x="1746134" y="538304"/>
                  <a:pt x="1746134" y="539766"/>
                  <a:pt x="1746134" y="539766"/>
                </a:cubicBezTo>
                <a:cubicBezTo>
                  <a:pt x="1746134" y="541228"/>
                  <a:pt x="1746134" y="541228"/>
                  <a:pt x="1746134" y="541228"/>
                </a:cubicBezTo>
                <a:cubicBezTo>
                  <a:pt x="1746134" y="541228"/>
                  <a:pt x="1744672" y="542691"/>
                  <a:pt x="1744672" y="542691"/>
                </a:cubicBezTo>
                <a:cubicBezTo>
                  <a:pt x="1744672" y="542691"/>
                  <a:pt x="1743209" y="542691"/>
                  <a:pt x="1740284" y="542691"/>
                </a:cubicBezTo>
                <a:close/>
              </a:path>
            </a:pathLst>
          </a:custGeom>
          <a:solidFill>
            <a:srgbClr val="FFFFFF"/>
          </a:solidFill>
          <a:ln w="14590" cap="flat">
            <a:noFill/>
            <a:prstDash val="solid"/>
            <a:miter/>
          </a:ln>
        </p:spPr>
        <p:txBody>
          <a:bodyPr rtlCol="0" anchor="ctr"/>
          <a:lstStyle/>
          <a:p>
            <a:endParaRPr lang="en-ZA" sz="1400"/>
          </a:p>
        </p:txBody>
      </p:sp>
    </p:spTree>
    <p:extLst>
      <p:ext uri="{BB962C8B-B14F-4D97-AF65-F5344CB8AC3E}">
        <p14:creationId xmlns:p14="http://schemas.microsoft.com/office/powerpoint/2010/main" val="5039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17E8B1C-79D6-4B56-A460-C4E8754799C3}"/>
              </a:ext>
            </a:extLst>
          </p:cNvPr>
          <p:cNvSpPr txBox="1"/>
          <p:nvPr userDrawn="1"/>
        </p:nvSpPr>
        <p:spPr>
          <a:xfrm>
            <a:off x="322107" y="352348"/>
            <a:ext cx="40777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5400">
                <a:solidFill>
                  <a:schemeClr val="bg1"/>
                </a:solidFill>
                <a:latin typeface="TCCC-UnityHeadline" panose="020B0805030303020204" pitchFamily="34" charset="0"/>
              </a:rPr>
              <a:t>Thank you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0DAE9097-2257-455E-B2F4-20A5348334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25580" y="5386519"/>
            <a:ext cx="1700779" cy="1120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573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DFC18F-03AA-408C-8F00-E834712058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DFC18F-03AA-408C-8F00-E834712058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AC281B3-5D7B-4AB3-B99D-FF5F37C65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81C59F-45ED-4239-BC11-732728FBA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AFFC9C-069C-4C5A-83A0-1CB026D3A5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4 February 2021 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5AC14E5-039F-48D7-A92B-85D6810BC0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RIVILEGED AND CONFIDENTIAL</a:t>
            </a:r>
          </a:p>
          <a:p>
            <a:pPr>
              <a:defRPr/>
            </a:pP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01F333-3DED-4184-A512-309BF6A56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3963F4-44BC-4D29-A1E0-BF9547A73B0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457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9C68058-30D2-4F4D-945A-49F8D34F3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689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9C68058-30D2-4F4D-945A-49F8D34F3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156FCF88-57DB-F246-8D24-D73392F71B5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-1" y="65440"/>
            <a:ext cx="11633201" cy="377905"/>
          </a:xfrm>
          <a:solidFill>
            <a:schemeClr val="tx1">
              <a:lumMod val="75000"/>
              <a:lumOff val="25000"/>
            </a:schemeClr>
          </a:solidFill>
        </p:spPr>
        <p:txBody>
          <a:bodyPr vert="horz" anchor="b">
            <a:normAutofit/>
          </a:bodyPr>
          <a:lstStyle>
            <a:lvl1pPr rtl="0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btfpLayoutConfig" hidden="1"/>
          <p:cNvSpPr txBox="1"/>
          <p:nvPr userDrawn="1">
            <p:custDataLst>
              <p:tags r:id="rId3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overall_0_132517958279959725 columns_1_132517958279959725 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53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6">
          <p15:clr>
            <a:srgbClr val="CCCCCC"/>
          </p15:clr>
        </p15:guide>
        <p15:guide id="2" pos="7464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5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68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25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78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38.xml"/><Relationship Id="rId7" Type="http://schemas.openxmlformats.org/officeDocument/2006/relationships/oleObject" Target="../embeddings/oleObject39.bin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ags" Target="../tags/tag93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99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oleObject" Target="../embeddings/oleObject44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tags" Target="../tags/tag124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19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17" Type="http://schemas.openxmlformats.org/officeDocument/2006/relationships/tags" Target="../tags/tag115.xml"/><Relationship Id="rId25" Type="http://schemas.openxmlformats.org/officeDocument/2006/relationships/tags" Target="../tags/tag123.xml"/><Relationship Id="rId33" Type="http://schemas.openxmlformats.org/officeDocument/2006/relationships/image" Target="../media/image20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oleObject" Target="../embeddings/oleObject56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122.xml"/><Relationship Id="rId32" Type="http://schemas.openxmlformats.org/officeDocument/2006/relationships/oleObject" Target="../embeddings/oleObject57.bin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113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10" Type="http://schemas.openxmlformats.org/officeDocument/2006/relationships/slideLayout" Target="../slideLayouts/slideLayout60.xml"/><Relationship Id="rId19" Type="http://schemas.openxmlformats.org/officeDocument/2006/relationships/tags" Target="../tags/tag117.xml"/><Relationship Id="rId31" Type="http://schemas.openxmlformats.org/officeDocument/2006/relationships/image" Target="../media/image19.emf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image" Target="../media/image18.emf"/><Relationship Id="rId8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oleObject" Target="../embeddings/oleObject68.bin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139.xml"/><Relationship Id="rId5" Type="http://schemas.openxmlformats.org/officeDocument/2006/relationships/slideLayout" Target="../slideLayouts/slideLayout66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oleObject" Target="../embeddings/oleObject69.bin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ags" Target="../tags/tag140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652FE5B-D9D3-48D5-B4F5-11502F465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16781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652FE5B-D9D3-48D5-B4F5-11502F465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346128" y="365125"/>
            <a:ext cx="11499744" cy="7397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346128" y="1320800"/>
            <a:ext cx="11499744" cy="4819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8"/>
            </p:custDataLst>
          </p:nvPr>
        </p:nvSpPr>
        <p:spPr>
          <a:xfrm>
            <a:off x="346128" y="61404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 b="0" i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07282813-90A4-B841-8DAA-4B00E2E34CD3}" type="datetimeFigureOut">
              <a:rPr lang="en-US" smtClean="0">
                <a:solidFill>
                  <a:srgbClr val="000000"/>
                </a:solidFill>
              </a:rPr>
              <a:pPr>
                <a:defRPr/>
              </a:pPr>
              <a:t>1/11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B7FF7F-242B-E04F-8AB6-C79B5C18ACBE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6721474"/>
            <a:ext cx="12192000" cy="136525"/>
          </a:xfrm>
          <a:prstGeom prst="rect">
            <a:avLst/>
          </a:prstGeom>
          <a:gradFill>
            <a:gsLst>
              <a:gs pos="0">
                <a:srgbClr val="F40009"/>
              </a:gs>
              <a:gs pos="50000">
                <a:srgbClr val="F79900"/>
              </a:gs>
              <a:gs pos="100000">
                <a:srgbClr val="6AC9C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btfpLayoutConfig" hidden="1"/>
          <p:cNvSpPr txBox="1"/>
          <p:nvPr userDrawn="1">
            <p:custDataLst>
              <p:tags r:id="rId20"/>
            </p:custDataLst>
          </p:nvPr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alpha val="0"/>
                  </a:srgbClr>
                </a:solidFill>
                <a:effectLst/>
                <a:uLnTx/>
                <a:uFillTx/>
                <a:latin typeface="Arial"/>
                <a:cs typeface="Arial"/>
              </a:rPr>
              <a:t>overall_0_132517957973339413 columns_1_132517957973339413 </a:t>
            </a:r>
            <a:endParaRPr kumimoji="0" lang="en-US" sz="1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alpha val="0"/>
                </a:srgbClr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22613355-8016-4595-B20C-C71992B37530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404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173038" indent="-16192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403225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633413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865188" indent="-17303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b="0" i="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6">
          <p15:clr>
            <a:srgbClr val="F26B43"/>
          </p15:clr>
        </p15:guide>
        <p15:guide id="4" pos="7464">
          <p15:clr>
            <a:srgbClr val="F26B43"/>
          </p15:clr>
        </p15:guide>
        <p15:guide id="5" orient="horz" pos="216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orient="horz" pos="3864">
          <p15:clr>
            <a:srgbClr val="F26B43"/>
          </p15:clr>
        </p15:guide>
        <p15:guide id="8" orient="horz" pos="696">
          <p15:clr>
            <a:srgbClr val="F26B43"/>
          </p15:clr>
        </p15:guide>
        <p15:guide id="9" pos="3768">
          <p15:clr>
            <a:srgbClr val="F26B43"/>
          </p15:clr>
        </p15:guide>
        <p15:guide id="10" pos="3912">
          <p15:clr>
            <a:srgbClr val="F26B43"/>
          </p15:clr>
        </p15:guide>
        <p15:guide id="11" orient="horz" pos="3600">
          <p15:clr>
            <a:srgbClr val="F26B43"/>
          </p15:clr>
        </p15:guide>
        <p15:guide id="12" orient="horz" pos="11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C5B263-F292-4F98-A4B7-03D23D564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9435933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C5B263-F292-4F98-A4B7-03D23D564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 lang="en-US" dirty="0"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 dirty="0"/>
          </a:p>
        </p:txBody>
      </p:sp>
      <p:sp>
        <p:nvSpPr>
          <p:cNvPr id="53" name="Google Shape;53;p1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 dirty="0"/>
          </a:p>
        </p:txBody>
      </p:sp>
      <p:sp>
        <p:nvSpPr>
          <p:cNvPr id="54" name="Google Shape;54;p1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 dirty="0"/>
          </a:p>
        </p:txBody>
      </p:sp>
      <p:sp>
        <p:nvSpPr>
          <p:cNvPr id="55" name="Google Shape;55;p1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F50DD73C-61A3-4565-B044-6B887C35A604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32814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30" r:id="rId5"/>
    <p:sldLayoutId id="2147483731" r:id="rId6"/>
    <p:sldLayoutId id="2147483732" r:id="rId7"/>
    <p:sldLayoutId id="2147483733" r:id="rId8"/>
    <p:sldLayoutId id="214748389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2C0A4BB-383A-4DAB-9B8E-E091DBE77B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3107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2C0A4BB-383A-4DAB-9B8E-E091DBE77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6128" y="365126"/>
            <a:ext cx="11499744" cy="7397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128" y="1320800"/>
            <a:ext cx="11499744" cy="4603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6128" y="61404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 b="0" i="0">
                <a:solidFill>
                  <a:schemeClr val="tx1"/>
                </a:solidFill>
                <a:latin typeface="TCCC-UnityText" panose="020B0305030303020204" pitchFamily="34" charset="77"/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B7FF7F-242B-E04F-8AB6-C79B5C18ACBE}"/>
              </a:ext>
            </a:extLst>
          </p:cNvPr>
          <p:cNvSpPr/>
          <p:nvPr userDrawn="1"/>
        </p:nvSpPr>
        <p:spPr>
          <a:xfrm>
            <a:off x="0" y="6721475"/>
            <a:ext cx="12192000" cy="136525"/>
          </a:xfrm>
          <a:prstGeom prst="rect">
            <a:avLst/>
          </a:prstGeom>
          <a:gradFill>
            <a:gsLst>
              <a:gs pos="0">
                <a:srgbClr val="F40009"/>
              </a:gs>
              <a:gs pos="50000">
                <a:srgbClr val="F79900"/>
              </a:gs>
              <a:gs pos="100000">
                <a:srgbClr val="6AC9C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/>
          </a:p>
        </p:txBody>
      </p:sp>
      <p:sp>
        <p:nvSpPr>
          <p:cNvPr id="5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507A4908-90C6-4CBC-8D74-07567E59E4CA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1239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TCCC-UnityHeadline" panose="020B0305030303020204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TCCC-UnityHeadline" panose="020B0305030303020204" pitchFamily="34" charset="77"/>
          <a:ea typeface="+mn-ea"/>
          <a:cs typeface="+mn-cs"/>
        </a:defRPr>
      </a:lvl1pPr>
      <a:lvl2pPr marL="173034" indent="-161921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TCCC-UnityHeadline" panose="020B0305030303020204" pitchFamily="34" charset="77"/>
          <a:ea typeface="+mn-ea"/>
          <a:cs typeface="+mn-cs"/>
        </a:defRPr>
      </a:lvl2pPr>
      <a:lvl3pPr marL="403215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3pPr>
      <a:lvl4pPr marL="63339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4pPr>
      <a:lvl5pPr marL="865166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6">
          <p15:clr>
            <a:srgbClr val="F26B43"/>
          </p15:clr>
        </p15:guide>
        <p15:guide id="4" pos="7464">
          <p15:clr>
            <a:srgbClr val="F26B43"/>
          </p15:clr>
        </p15:guide>
        <p15:guide id="5" orient="horz" pos="216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orient="horz" pos="3864">
          <p15:clr>
            <a:srgbClr val="F26B43"/>
          </p15:clr>
        </p15:guide>
        <p15:guide id="8" orient="horz" pos="696">
          <p15:clr>
            <a:srgbClr val="F26B43"/>
          </p15:clr>
        </p15:guide>
        <p15:guide id="9" pos="3768">
          <p15:clr>
            <a:srgbClr val="F26B43"/>
          </p15:clr>
        </p15:guide>
        <p15:guide id="10" pos="3912">
          <p15:clr>
            <a:srgbClr val="F26B43"/>
          </p15:clr>
        </p15:guide>
        <p15:guide id="11" orient="horz" pos="3600">
          <p15:clr>
            <a:srgbClr val="F26B43"/>
          </p15:clr>
        </p15:guide>
        <p15:guide id="12" orient="horz" pos="117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69396977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717" y="1528548"/>
            <a:ext cx="10972800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  <a:endParaRPr lang="en-US" dirty="0"/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11717" y="251532"/>
            <a:ext cx="109728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Headline</a:t>
            </a:r>
            <a:endParaRPr lang="en-US" dirty="0"/>
          </a:p>
        </p:txBody>
      </p:sp>
      <p:sp>
        <p:nvSpPr>
          <p:cNvPr id="1060" name="Line 36"/>
          <p:cNvSpPr>
            <a:spLocks noChangeShapeType="1"/>
          </p:cNvSpPr>
          <p:nvPr/>
        </p:nvSpPr>
        <p:spPr bwMode="auto">
          <a:xfrm>
            <a:off x="609600" y="8382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rtl="0" eaLnBrk="0" hangingPunct="0">
              <a:defRPr/>
            </a:pPr>
            <a:endParaRPr lang="en-US" sz="1800" dirty="0">
              <a:solidFill>
                <a:srgbClr val="000000"/>
              </a:solidFill>
              <a:ea typeface="ＭＳ Ｐゴシック" pitchFamily="1" charset="-128"/>
              <a:cs typeface="Calibri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958683" y="6434559"/>
            <a:ext cx="22966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1000">
                <a:solidFill>
                  <a:srgbClr val="595959"/>
                </a:solidFill>
                <a:ea typeface="ＭＳ Ｐゴシック" pitchFamily="34" charset="-128"/>
                <a:cs typeface="Calibri" pitchFamily="34" charset="0"/>
              </a:rPr>
              <a:t> – Classification –</a:t>
            </a:r>
            <a:endParaRPr lang="en-US" sz="1000" dirty="0">
              <a:solidFill>
                <a:srgbClr val="595959"/>
              </a:solidFill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5423927" y="6426170"/>
            <a:ext cx="1344149" cy="246221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A60C201-026A-41E7-9A09-1CC392613B1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3089" y="6434559"/>
            <a:ext cx="1658241" cy="342789"/>
          </a:xfrm>
          <a:prstGeom prst="rect">
            <a:avLst/>
          </a:prstGeom>
        </p:spPr>
      </p:pic>
      <p:sp>
        <p:nvSpPr>
          <p:cNvPr id="6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A7A3418A-9760-449B-8335-2D81B15FF7EF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974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71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400" b="1" dirty="0" smtClean="0">
          <a:solidFill>
            <a:srgbClr val="F52026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>
          <a:solidFill>
            <a:srgbClr val="F52026"/>
          </a:solidFill>
          <a:latin typeface="Arial Bold" pitchFamily="1" charset="0"/>
          <a:ea typeface="ＭＳ Ｐゴシック" pitchFamily="1" charset="-128"/>
          <a:cs typeface="ＭＳ Ｐゴシック" pitchFamily="1" charset="-128"/>
        </a:defRPr>
      </a:lvl9pPr>
    </p:titleStyle>
    <p:bodyStyle>
      <a:lvl1pPr marL="187321" indent="-187321" algn="l" rtl="0" eaLnBrk="1" fontAlgn="base" hangingPunct="1">
        <a:spcBef>
          <a:spcPct val="20000"/>
        </a:spcBef>
        <a:spcAft>
          <a:spcPct val="0"/>
        </a:spcAft>
        <a:buFont typeface="Times" pitchFamily="18" charset="0"/>
        <a:buChar char="•"/>
        <a:defRPr lang="en-US" sz="1600" dirty="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742932" indent="-295267" algn="l" rtl="0" eaLnBrk="1" fontAlgn="base" hangingPunct="1">
        <a:spcBef>
          <a:spcPct val="20000"/>
        </a:spcBef>
        <a:spcAft>
          <a:spcPct val="0"/>
        </a:spcAft>
        <a:buClr>
          <a:srgbClr val="2F3B40"/>
        </a:buClr>
        <a:buFont typeface="Times" pitchFamily="18" charset="0"/>
        <a:buChar char="–"/>
        <a:defRPr sz="16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2pPr>
      <a:lvl3pPr marL="1142971" indent="-228594" algn="l" rtl="0" eaLnBrk="1" fontAlgn="base" hangingPunct="1">
        <a:spcBef>
          <a:spcPct val="20000"/>
        </a:spcBef>
        <a:spcAft>
          <a:spcPct val="0"/>
        </a:spcAft>
        <a:buSzPct val="100000"/>
        <a:buFont typeface="Courier New" pitchFamily="49" charset="0"/>
        <a:buChar char="o"/>
        <a:defRPr lang="en-US" sz="1600" dirty="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3pPr>
      <a:lvl4pPr marL="1600160" indent="-228594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4pPr>
      <a:lvl5pPr marL="2057349" indent="-228594" algn="l" rtl="0" eaLnBrk="1" fontAlgn="base" hangingPunct="1">
        <a:spcBef>
          <a:spcPct val="20000"/>
        </a:spcBef>
        <a:spcAft>
          <a:spcPct val="0"/>
        </a:spcAft>
        <a:buChar char="•"/>
        <a:defRPr lang="en-US" dirty="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275FED0-ADD3-40DA-ABC4-06D9CFCBFF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26161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275FED0-ADD3-40DA-ABC4-06D9CFCBF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38D205-6A21-443C-989C-AF8341FE0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F71DC-79C7-21BE-832A-14307FA152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A426A0-90A2-E10F-D553-E0413102DB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F1CE70-2A18-5D48-91EF-2F67F8F126E0}" type="datetime1">
              <a:rPr lang="en-US" smtClean="0"/>
              <a:pPr/>
              <a:t>1/11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4D9D35-FFB6-A302-140F-B10463598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lassified -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BFA611-50D8-424A-C1CB-F78C1CBB8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1A7703-5F56-AC4F-9A09-DFA641F40CD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3F67EADA-44F4-4EE9-8486-E9668091741D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lang="en-US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70404788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62"/>
          <p:cNvPicPr>
            <a:picLocks noChangeAspect="1"/>
          </p:cNvPicPr>
          <p:nvPr userDrawn="1"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150" t="-11151" r="40984" b="35188"/>
          <a:stretch/>
        </p:blipFill>
        <p:spPr bwMode="ltGray">
          <a:xfrm>
            <a:off x="11685198" y="238965"/>
            <a:ext cx="506802" cy="827389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57853" y="160344"/>
            <a:ext cx="1075478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69071" y="2"/>
            <a:ext cx="6362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rtl="0" fontAlgn="base">
              <a:spcBef>
                <a:spcPct val="0"/>
              </a:spcBef>
              <a:spcAft>
                <a:spcPct val="0"/>
              </a:spcAft>
            </a:pPr>
            <a:r>
              <a:rPr lang="en-US" sz="102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57863" y="453473"/>
            <a:ext cx="107547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269071" y="6452094"/>
            <a:ext cx="10754784" cy="348246"/>
            <a:chOff x="75" y="3925"/>
            <a:chExt cx="5385" cy="21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5"/>
              <a:ext cx="538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0433" indent="-100433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>
                  <a:solidFill>
                    <a:srgbClr val="5D677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1"/>
              <a:ext cx="538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8861" indent="-558861" defTabSz="913521" rtl="0" fontAlgn="base">
                <a:spcBef>
                  <a:spcPct val="0"/>
                </a:spcBef>
                <a:spcAft>
                  <a:spcPct val="0"/>
                </a:spcAft>
                <a:tabLst>
                  <a:tab pos="625211" algn="l"/>
                </a:tabLst>
              </a:pPr>
              <a:r>
                <a:rPr lang="en-US" sz="918" dirty="0">
                  <a:solidFill>
                    <a:srgbClr val="5D677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6" y="2158227"/>
            <a:ext cx="5853024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5D6770"/>
                  </a:solidFill>
                </a:rPr>
                <a:t>Title</a:t>
              </a:r>
            </a:p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18" y="2762543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22" name="LegendBoxes" hidden="1"/>
          <p:cNvGrpSpPr>
            <a:grpSpLocks/>
          </p:cNvGrpSpPr>
          <p:nvPr userDrawn="1"/>
        </p:nvGrpSpPr>
        <p:grpSpPr bwMode="auto">
          <a:xfrm>
            <a:off x="10988572" y="1456026"/>
            <a:ext cx="867835" cy="1004889"/>
            <a:chOff x="4936" y="176"/>
            <a:chExt cx="410" cy="633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 userDrawn="1"/>
        </p:nvGrpSpPr>
        <p:grpSpPr bwMode="auto">
          <a:xfrm>
            <a:off x="10577932" y="1456026"/>
            <a:ext cx="1278467" cy="738189"/>
            <a:chOff x="4750" y="176"/>
            <a:chExt cx="604" cy="465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5D6770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50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</p:grpSp>
      <p:grpSp>
        <p:nvGrpSpPr>
          <p:cNvPr id="38" name="McKSticker" hidden="1"/>
          <p:cNvGrpSpPr/>
          <p:nvPr userDrawn="1"/>
        </p:nvGrpSpPr>
        <p:grpSpPr bwMode="auto">
          <a:xfrm>
            <a:off x="10896889" y="1456026"/>
            <a:ext cx="1109779" cy="220474"/>
            <a:chOff x="7908439" y="285750"/>
            <a:chExt cx="832336" cy="220475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908439" y="285750"/>
              <a:ext cx="832336" cy="22047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908439" y="285750"/>
              <a:ext cx="0" cy="22047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908439" y="506225"/>
              <a:ext cx="83233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 userDrawn="1"/>
        </p:nvGrpSpPr>
        <p:grpSpPr bwMode="auto">
          <a:xfrm>
            <a:off x="10899432" y="1456026"/>
            <a:ext cx="957495" cy="1306516"/>
            <a:chOff x="7875175" y="286625"/>
            <a:chExt cx="718124" cy="1306516"/>
          </a:xfrm>
        </p:grpSpPr>
        <p:grpSp>
          <p:nvGrpSpPr>
            <p:cNvPr id="43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</p:grpSp>
        <p:sp>
          <p:nvSpPr>
            <p:cNvPr id="46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97449" cy="192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47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97449" cy="192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48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97449" cy="192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49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97449" cy="192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sp>
          <p:nvSpPr>
            <p:cNvPr id="50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97449" cy="1922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45" rtl="0" fontAlgn="base">
                <a:spcBef>
                  <a:spcPct val="0"/>
                </a:spcBef>
                <a:spcAft>
                  <a:spcPct val="0"/>
                </a:spcAft>
                <a:buClr>
                  <a:srgbClr val="5D6770"/>
                </a:buClr>
              </a:pPr>
              <a:r>
                <a:rPr lang="en-US" sz="1224" dirty="0">
                  <a:solidFill>
                    <a:srgbClr val="5D6770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</p:grpSp>
        <p:grpSp>
          <p:nvGrpSpPr>
            <p:cNvPr id="52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5D6770"/>
                  </a:solidFill>
                </a:endParaRPr>
              </a:p>
            </p:txBody>
          </p:sp>
        </p:grpSp>
      </p:grpSp>
      <p:sp>
        <p:nvSpPr>
          <p:cNvPr id="64" name="Slide Number"/>
          <p:cNvSpPr txBox="1">
            <a:spLocks/>
          </p:cNvSpPr>
          <p:nvPr userDrawn="1"/>
        </p:nvSpPr>
        <p:spPr bwMode="auto">
          <a:xfrm>
            <a:off x="11841142" y="6659698"/>
            <a:ext cx="130848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5D6770"/>
                </a:solidFill>
              </a:rPr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5D6770"/>
              </a:solidFill>
            </a:endParaRPr>
          </a:p>
        </p:txBody>
      </p:sp>
      <p:grpSp>
        <p:nvGrpSpPr>
          <p:cNvPr id="67" name="Group 66"/>
          <p:cNvGrpSpPr/>
          <p:nvPr userDrawn="1"/>
        </p:nvGrpSpPr>
        <p:grpSpPr>
          <a:xfrm>
            <a:off x="1" y="1023521"/>
            <a:ext cx="12192000" cy="763846"/>
            <a:chOff x="0" y="1352550"/>
            <a:chExt cx="8961438" cy="748640"/>
          </a:xfrm>
        </p:grpSpPr>
        <p:sp>
          <p:nvSpPr>
            <p:cNvPr id="68" name="Rectangle 67"/>
            <p:cNvSpPr/>
            <p:nvPr/>
          </p:nvSpPr>
          <p:spPr>
            <a:xfrm>
              <a:off x="0" y="1352550"/>
              <a:ext cx="8961438" cy="74864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en-US" sz="714" dirty="0">
                <a:solidFill>
                  <a:srgbClr val="5D6470"/>
                </a:solidFill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0" y="1352550"/>
              <a:ext cx="896143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65" name="Object 64"/>
          <p:cNvGraphicFramePr>
            <a:graphicFrameLocks noChangeAspect="1"/>
          </p:cNvGraphicFramePr>
          <p:nvPr userDrawn="1"/>
        </p:nvGraphicFramePr>
        <p:xfrm>
          <a:off x="11393262" y="6293825"/>
          <a:ext cx="798738" cy="56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32" imgW="9829800" imgH="6943725" progId="AcroExch.Document.11">
                  <p:embed/>
                </p:oleObj>
              </mc:Choice>
              <mc:Fallback>
                <p:oleObj name="Acrobat Document" r:id="rId32" imgW="9829800" imgH="6943725" progId="AcroExch.Document.11">
                  <p:embed/>
                  <p:pic>
                    <p:nvPicPr>
                      <p:cNvPr id="65" name="Object 64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1393262" y="6293825"/>
                        <a:ext cx="798738" cy="5641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119F1555-908B-45D2-9063-CBBCB6F77255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kumimoji="1" lang="en-US" altLang="ja-JP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  <a:endParaRPr kumimoji="1" lang="en-US" altLang="ja-JP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3241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521" rtl="0" eaLnBrk="1" fontAlgn="base" hangingPunct="1">
        <a:spcBef>
          <a:spcPct val="0"/>
        </a:spcBef>
        <a:spcAft>
          <a:spcPct val="0"/>
        </a:spcAft>
        <a:tabLst>
          <a:tab pos="275351" algn="l"/>
        </a:tabLst>
        <a:defRPr lang="en-US" sz="1939" b="0" baseline="0" noProof="0" dirty="0" smtClean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78"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57"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35"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14" algn="l" defTabSz="91352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5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2pPr>
      <a:lvl3pPr marL="466478" indent="-267253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2" indent="-158732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32" baseline="0">
          <a:solidFill>
            <a:schemeClr val="tx1"/>
          </a:solidFill>
          <a:latin typeface="+mn-lt"/>
        </a:defRPr>
      </a:lvl4pPr>
      <a:lvl5pPr marL="765024" indent="-132818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4" indent="-132818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4" indent="-132818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4" indent="-132818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4" indent="-132818" algn="l" defTabSz="91352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78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57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35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14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93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71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49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27" algn="l" defTabSz="9329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C5B263-F292-4F98-A4B7-03D23D564A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9653340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C5B263-F292-4F98-A4B7-03D23D564A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Calibri"/>
              <a:buNone/>
              <a:defRPr sz="33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5" name="Google Shape;55;p13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4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F50DD73C-61A3-4565-B044-6B887C35A604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PH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1478254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alphaModFix amt="25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2C0A4BB-383A-4DAB-9B8E-E091DBE77B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5097017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5" progId="TCLayout.ActiveDocument.1">
                  <p:embed/>
                </p:oleObj>
              </mc:Choice>
              <mc:Fallback>
                <p:oleObj name="think-cell Slide" r:id="rId17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2C0A4BB-383A-4DAB-9B8E-E091DBE77B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6128" y="365126"/>
            <a:ext cx="11499744" cy="7397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6128" y="1320800"/>
            <a:ext cx="11499744" cy="4603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46128" y="61404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latin typeface="TCCC-UnityText" panose="020B0305030303020204" pitchFamily="34" charset="77"/>
              </a:defRPr>
            </a:lvl1pPr>
          </a:lstStyle>
          <a:p>
            <a:fld id="{07282813-90A4-B841-8DAA-4B00E2E34CD3}" type="datetimeFigureOut">
              <a:rPr lang="en-US" smtClean="0"/>
              <a:pPr/>
              <a:t>1/11/202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B7FF7F-242B-E04F-8AB6-C79B5C18ACBE}"/>
              </a:ext>
            </a:extLst>
          </p:cNvPr>
          <p:cNvSpPr/>
          <p:nvPr userDrawn="1"/>
        </p:nvSpPr>
        <p:spPr>
          <a:xfrm>
            <a:off x="0" y="6721475"/>
            <a:ext cx="12192000" cy="136525"/>
          </a:xfrm>
          <a:prstGeom prst="rect">
            <a:avLst/>
          </a:prstGeom>
          <a:gradFill>
            <a:gsLst>
              <a:gs pos="0">
                <a:srgbClr val="F40009"/>
              </a:gs>
              <a:gs pos="50000">
                <a:srgbClr val="F79900"/>
              </a:gs>
              <a:gs pos="100000">
                <a:srgbClr val="6AC9C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507A4908-90C6-4CBC-8D74-07567E59E4CA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PH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99406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TCCC-UnityHeadline" panose="020B0305030303020204" pitchFamily="34" charset="77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TCCC-UnityHeadline" panose="020B0305030303020204" pitchFamily="34" charset="77"/>
          <a:ea typeface="+mn-ea"/>
          <a:cs typeface="+mn-cs"/>
        </a:defRPr>
      </a:lvl1pPr>
      <a:lvl2pPr marL="173034" indent="-161921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TCCC-UnityHeadline" panose="020B0305030303020204" pitchFamily="34" charset="77"/>
          <a:ea typeface="+mn-ea"/>
          <a:cs typeface="+mn-cs"/>
        </a:defRPr>
      </a:lvl2pPr>
      <a:lvl3pPr marL="403215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3pPr>
      <a:lvl4pPr marL="63339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4pPr>
      <a:lvl5pPr marL="865166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200" b="0" i="0" kern="1200">
          <a:solidFill>
            <a:schemeClr val="tx1"/>
          </a:solidFill>
          <a:latin typeface="TCCC-UnityText" panose="020B0305030303020204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6">
          <p15:clr>
            <a:srgbClr val="F26B43"/>
          </p15:clr>
        </p15:guide>
        <p15:guide id="4" pos="7464">
          <p15:clr>
            <a:srgbClr val="F26B43"/>
          </p15:clr>
        </p15:guide>
        <p15:guide id="5" orient="horz" pos="216">
          <p15:clr>
            <a:srgbClr val="F26B43"/>
          </p15:clr>
        </p15:guide>
        <p15:guide id="6" orient="horz" pos="3744">
          <p15:clr>
            <a:srgbClr val="F26B43"/>
          </p15:clr>
        </p15:guide>
        <p15:guide id="7" orient="horz" pos="3864">
          <p15:clr>
            <a:srgbClr val="F26B43"/>
          </p15:clr>
        </p15:guide>
        <p15:guide id="8" orient="horz" pos="696">
          <p15:clr>
            <a:srgbClr val="F26B43"/>
          </p15:clr>
        </p15:guide>
        <p15:guide id="9" pos="3768">
          <p15:clr>
            <a:srgbClr val="F26B43"/>
          </p15:clr>
        </p15:guide>
        <p15:guide id="10" pos="3912">
          <p15:clr>
            <a:srgbClr val="F26B43"/>
          </p15:clr>
        </p15:guide>
        <p15:guide id="11" orient="horz" pos="3600">
          <p15:clr>
            <a:srgbClr val="F26B43"/>
          </p15:clr>
        </p15:guide>
        <p15:guide id="12" orient="horz" pos="1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43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0.xml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73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75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51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Relationship Id="rId9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52.xml"/><Relationship Id="rId6" Type="http://schemas.openxmlformats.org/officeDocument/2006/relationships/image" Target="../media/image77.png"/><Relationship Id="rId5" Type="http://schemas.openxmlformats.org/officeDocument/2006/relationships/image" Target="../media/image66.emf"/><Relationship Id="rId10" Type="http://schemas.microsoft.com/office/2007/relationships/hdphoto" Target="../media/hdphoto4.wdp"/><Relationship Id="rId4" Type="http://schemas.openxmlformats.org/officeDocument/2006/relationships/oleObject" Target="../embeddings/oleObject80.bin"/><Relationship Id="rId9" Type="http://schemas.openxmlformats.org/officeDocument/2006/relationships/image" Target="../media/image6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80.png"/><Relationship Id="rId3" Type="http://schemas.openxmlformats.org/officeDocument/2006/relationships/notesSlide" Target="../notesSlides/notesSlide11.xml"/><Relationship Id="rId7" Type="http://schemas.openxmlformats.org/officeDocument/2006/relationships/chart" Target="../charts/chart1.xml"/><Relationship Id="rId12" Type="http://schemas.openxmlformats.org/officeDocument/2006/relationships/image" Target="../media/image79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3.xml"/><Relationship Id="rId6" Type="http://schemas.openxmlformats.org/officeDocument/2006/relationships/image" Target="../media/image32.png"/><Relationship Id="rId11" Type="http://schemas.openxmlformats.org/officeDocument/2006/relationships/chart" Target="../charts/chart5.xml"/><Relationship Id="rId5" Type="http://schemas.openxmlformats.org/officeDocument/2006/relationships/image" Target="../media/image78.emf"/><Relationship Id="rId15" Type="http://schemas.openxmlformats.org/officeDocument/2006/relationships/image" Target="../media/image33.png"/><Relationship Id="rId10" Type="http://schemas.openxmlformats.org/officeDocument/2006/relationships/chart" Target="../charts/chart4.xml"/><Relationship Id="rId4" Type="http://schemas.openxmlformats.org/officeDocument/2006/relationships/oleObject" Target="../embeddings/oleObject81.bin"/><Relationship Id="rId9" Type="http://schemas.openxmlformats.org/officeDocument/2006/relationships/chart" Target="../charts/chart3.xml"/><Relationship Id="rId14" Type="http://schemas.openxmlformats.org/officeDocument/2006/relationships/image" Target="../media/image8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g"/><Relationship Id="rId13" Type="http://schemas.openxmlformats.org/officeDocument/2006/relationships/image" Target="../media/image85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33.png"/><Relationship Id="rId12" Type="http://schemas.openxmlformats.org/officeDocument/2006/relationships/image" Target="../media/image52.jpe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4.xml"/><Relationship Id="rId6" Type="http://schemas.openxmlformats.org/officeDocument/2006/relationships/image" Target="../media/image32.png"/><Relationship Id="rId11" Type="http://schemas.openxmlformats.org/officeDocument/2006/relationships/image" Target="../media/image84.jpeg"/><Relationship Id="rId5" Type="http://schemas.openxmlformats.org/officeDocument/2006/relationships/image" Target="../media/image1.emf"/><Relationship Id="rId10" Type="http://schemas.openxmlformats.org/officeDocument/2006/relationships/image" Target="../media/image83.emf"/><Relationship Id="rId4" Type="http://schemas.openxmlformats.org/officeDocument/2006/relationships/oleObject" Target="../embeddings/oleObject82.bin"/><Relationship Id="rId9" Type="http://schemas.openxmlformats.org/officeDocument/2006/relationships/chart" Target="../charts/chart6.xml"/><Relationship Id="rId1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5.xml"/><Relationship Id="rId6" Type="http://schemas.openxmlformats.org/officeDocument/2006/relationships/image" Target="../media/image32.png"/><Relationship Id="rId11" Type="http://schemas.openxmlformats.org/officeDocument/2006/relationships/image" Target="../media/image89.emf"/><Relationship Id="rId5" Type="http://schemas.openxmlformats.org/officeDocument/2006/relationships/image" Target="../media/image1.emf"/><Relationship Id="rId10" Type="http://schemas.openxmlformats.org/officeDocument/2006/relationships/image" Target="../media/image88.png"/><Relationship Id="rId4" Type="http://schemas.openxmlformats.org/officeDocument/2006/relationships/oleObject" Target="../embeddings/oleObject83.bin"/><Relationship Id="rId9" Type="http://schemas.openxmlformats.org/officeDocument/2006/relationships/image" Target="../media/image8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g"/><Relationship Id="rId13" Type="http://schemas.openxmlformats.org/officeDocument/2006/relationships/image" Target="../media/image9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3.png"/><Relationship Id="rId12" Type="http://schemas.openxmlformats.org/officeDocument/2006/relationships/image" Target="../media/image94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49.png"/><Relationship Id="rId1" Type="http://schemas.openxmlformats.org/officeDocument/2006/relationships/tags" Target="../tags/tag156.xml"/><Relationship Id="rId6" Type="http://schemas.openxmlformats.org/officeDocument/2006/relationships/image" Target="../media/image32.png"/><Relationship Id="rId11" Type="http://schemas.openxmlformats.org/officeDocument/2006/relationships/image" Target="../media/image93.png"/><Relationship Id="rId5" Type="http://schemas.openxmlformats.org/officeDocument/2006/relationships/image" Target="../media/image1.emf"/><Relationship Id="rId15" Type="http://schemas.openxmlformats.org/officeDocument/2006/relationships/image" Target="../media/image97.png"/><Relationship Id="rId10" Type="http://schemas.openxmlformats.org/officeDocument/2006/relationships/image" Target="../media/image92.jpeg"/><Relationship Id="rId4" Type="http://schemas.openxmlformats.org/officeDocument/2006/relationships/oleObject" Target="../embeddings/oleObject84.bin"/><Relationship Id="rId9" Type="http://schemas.openxmlformats.org/officeDocument/2006/relationships/image" Target="../media/image91.png"/><Relationship Id="rId14" Type="http://schemas.openxmlformats.org/officeDocument/2006/relationships/image" Target="../media/image96.jpe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2.jpeg"/><Relationship Id="rId18" Type="http://schemas.openxmlformats.org/officeDocument/2006/relationships/image" Target="../media/image107.png"/><Relationship Id="rId26" Type="http://schemas.openxmlformats.org/officeDocument/2006/relationships/image" Target="../media/image115.jpeg"/><Relationship Id="rId3" Type="http://schemas.openxmlformats.org/officeDocument/2006/relationships/notesSlide" Target="../notesSlides/notesSlide15.xml"/><Relationship Id="rId21" Type="http://schemas.openxmlformats.org/officeDocument/2006/relationships/image" Target="../media/image110.jpeg"/><Relationship Id="rId34" Type="http://schemas.microsoft.com/office/2007/relationships/hdphoto" Target="../media/hdphoto6.wdp"/><Relationship Id="rId7" Type="http://schemas.openxmlformats.org/officeDocument/2006/relationships/image" Target="../media/image33.png"/><Relationship Id="rId12" Type="http://schemas.openxmlformats.org/officeDocument/2006/relationships/image" Target="../media/image101.png"/><Relationship Id="rId17" Type="http://schemas.openxmlformats.org/officeDocument/2006/relationships/image" Target="../media/image106.jpeg"/><Relationship Id="rId25" Type="http://schemas.openxmlformats.org/officeDocument/2006/relationships/image" Target="../media/image114.jpeg"/><Relationship Id="rId33" Type="http://schemas.openxmlformats.org/officeDocument/2006/relationships/image" Target="../media/image12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05.png"/><Relationship Id="rId20" Type="http://schemas.openxmlformats.org/officeDocument/2006/relationships/image" Target="../media/image109.jpeg"/><Relationship Id="rId29" Type="http://schemas.openxmlformats.org/officeDocument/2006/relationships/image" Target="../media/image118.png"/><Relationship Id="rId1" Type="http://schemas.openxmlformats.org/officeDocument/2006/relationships/tags" Target="../tags/tag157.xml"/><Relationship Id="rId6" Type="http://schemas.openxmlformats.org/officeDocument/2006/relationships/image" Target="../media/image32.png"/><Relationship Id="rId11" Type="http://schemas.openxmlformats.org/officeDocument/2006/relationships/image" Target="../media/image100.png"/><Relationship Id="rId24" Type="http://schemas.openxmlformats.org/officeDocument/2006/relationships/image" Target="../media/image113.jpeg"/><Relationship Id="rId32" Type="http://schemas.openxmlformats.org/officeDocument/2006/relationships/image" Target="../media/image121.png"/><Relationship Id="rId5" Type="http://schemas.openxmlformats.org/officeDocument/2006/relationships/image" Target="../media/image1.emf"/><Relationship Id="rId15" Type="http://schemas.openxmlformats.org/officeDocument/2006/relationships/image" Target="../media/image104.jpeg"/><Relationship Id="rId23" Type="http://schemas.openxmlformats.org/officeDocument/2006/relationships/image" Target="../media/image112.jpeg"/><Relationship Id="rId28" Type="http://schemas.openxmlformats.org/officeDocument/2006/relationships/image" Target="../media/image117.png"/><Relationship Id="rId10" Type="http://schemas.openxmlformats.org/officeDocument/2006/relationships/image" Target="../media/image99.png"/><Relationship Id="rId19" Type="http://schemas.openxmlformats.org/officeDocument/2006/relationships/image" Target="../media/image108.jpeg"/><Relationship Id="rId31" Type="http://schemas.openxmlformats.org/officeDocument/2006/relationships/image" Target="../media/image120.png"/><Relationship Id="rId4" Type="http://schemas.openxmlformats.org/officeDocument/2006/relationships/oleObject" Target="../embeddings/oleObject85.bin"/><Relationship Id="rId9" Type="http://schemas.openxmlformats.org/officeDocument/2006/relationships/image" Target="../media/image98.png"/><Relationship Id="rId14" Type="http://schemas.openxmlformats.org/officeDocument/2006/relationships/image" Target="../media/image103.png"/><Relationship Id="rId22" Type="http://schemas.openxmlformats.org/officeDocument/2006/relationships/image" Target="../media/image111.jpeg"/><Relationship Id="rId27" Type="http://schemas.openxmlformats.org/officeDocument/2006/relationships/image" Target="../media/image116.jpeg"/><Relationship Id="rId30" Type="http://schemas.openxmlformats.org/officeDocument/2006/relationships/image" Target="../media/image119.png"/><Relationship Id="rId8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18" Type="http://schemas.openxmlformats.org/officeDocument/2006/relationships/image" Target="../media/image44.png"/><Relationship Id="rId3" Type="http://schemas.openxmlformats.org/officeDocument/2006/relationships/notesSlide" Target="../notesSlides/notesSlide2.xml"/><Relationship Id="rId21" Type="http://schemas.microsoft.com/office/2007/relationships/hdphoto" Target="../media/hdphoto1.wdp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42.jpeg"/><Relationship Id="rId20" Type="http://schemas.openxmlformats.org/officeDocument/2006/relationships/image" Target="../media/image46.png"/><Relationship Id="rId1" Type="http://schemas.openxmlformats.org/officeDocument/2006/relationships/tags" Target="../tags/tag144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1.emf"/><Relationship Id="rId15" Type="http://schemas.openxmlformats.org/officeDocument/2006/relationships/image" Target="../media/image41.jpeg"/><Relationship Id="rId23" Type="http://schemas.microsoft.com/office/2007/relationships/hdphoto" Target="../media/hdphoto2.wdp"/><Relationship Id="rId10" Type="http://schemas.openxmlformats.org/officeDocument/2006/relationships/image" Target="../media/image36.png"/><Relationship Id="rId19" Type="http://schemas.openxmlformats.org/officeDocument/2006/relationships/image" Target="../media/image45.jpeg"/><Relationship Id="rId4" Type="http://schemas.openxmlformats.org/officeDocument/2006/relationships/oleObject" Target="../embeddings/oleObject72.bin"/><Relationship Id="rId9" Type="http://schemas.openxmlformats.org/officeDocument/2006/relationships/image" Target="../media/image35.svg"/><Relationship Id="rId14" Type="http://schemas.openxmlformats.org/officeDocument/2006/relationships/image" Target="../media/image40.jpeg"/><Relationship Id="rId22" Type="http://schemas.openxmlformats.org/officeDocument/2006/relationships/image" Target="../media/image47.pn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65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58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Relationship Id="rId9" Type="http://schemas.openxmlformats.org/officeDocument/2006/relationships/image" Target="../media/image7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24.pn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59.xml"/><Relationship Id="rId6" Type="http://schemas.openxmlformats.org/officeDocument/2006/relationships/image" Target="../media/image123.png"/><Relationship Id="rId5" Type="http://schemas.openxmlformats.org/officeDocument/2006/relationships/image" Target="../media/image1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87.bin"/><Relationship Id="rId9" Type="http://schemas.openxmlformats.org/officeDocument/2006/relationships/image" Target="../media/image12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128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60.xml"/><Relationship Id="rId6" Type="http://schemas.openxmlformats.org/officeDocument/2006/relationships/image" Target="../media/image127.jpeg"/><Relationship Id="rId5" Type="http://schemas.openxmlformats.org/officeDocument/2006/relationships/image" Target="../media/image1.emf"/><Relationship Id="rId10" Type="http://schemas.openxmlformats.org/officeDocument/2006/relationships/image" Target="../media/image130.png"/><Relationship Id="rId4" Type="http://schemas.openxmlformats.org/officeDocument/2006/relationships/oleObject" Target="../embeddings/oleObject88.bin"/><Relationship Id="rId9" Type="http://schemas.openxmlformats.org/officeDocument/2006/relationships/image" Target="../media/image1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41.xml"/><Relationship Id="rId1" Type="http://schemas.openxmlformats.org/officeDocument/2006/relationships/tags" Target="../tags/tag145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3.png"/><Relationship Id="rId12" Type="http://schemas.openxmlformats.org/officeDocument/2006/relationships/image" Target="../media/image54.pn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58.png"/><Relationship Id="rId1" Type="http://schemas.openxmlformats.org/officeDocument/2006/relationships/tags" Target="../tags/tag146.xml"/><Relationship Id="rId6" Type="http://schemas.openxmlformats.org/officeDocument/2006/relationships/image" Target="../media/image32.png"/><Relationship Id="rId11" Type="http://schemas.openxmlformats.org/officeDocument/2006/relationships/image" Target="../media/image53.png"/><Relationship Id="rId5" Type="http://schemas.openxmlformats.org/officeDocument/2006/relationships/image" Target="../media/image1.emf"/><Relationship Id="rId15" Type="http://schemas.openxmlformats.org/officeDocument/2006/relationships/image" Target="../media/image57.png"/><Relationship Id="rId10" Type="http://schemas.openxmlformats.org/officeDocument/2006/relationships/image" Target="../media/image52.jpeg"/><Relationship Id="rId4" Type="http://schemas.openxmlformats.org/officeDocument/2006/relationships/oleObject" Target="../embeddings/oleObject74.bin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7.xml"/><Relationship Id="rId6" Type="http://schemas.openxmlformats.org/officeDocument/2006/relationships/image" Target="../media/image32.png"/><Relationship Id="rId11" Type="http://schemas.microsoft.com/office/2007/relationships/hdphoto" Target="../media/hdphoto3.wdp"/><Relationship Id="rId5" Type="http://schemas.openxmlformats.org/officeDocument/2006/relationships/image" Target="../media/image1.emf"/><Relationship Id="rId10" Type="http://schemas.openxmlformats.org/officeDocument/2006/relationships/image" Target="../media/image61.png"/><Relationship Id="rId4" Type="http://schemas.openxmlformats.org/officeDocument/2006/relationships/oleObject" Target="../embeddings/oleObject75.bin"/><Relationship Id="rId9" Type="http://schemas.openxmlformats.org/officeDocument/2006/relationships/image" Target="../media/image6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7" Type="http://schemas.microsoft.com/office/2007/relationships/hdphoto" Target="../media/hdphoto4.wdp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148.xml"/><Relationship Id="rId6" Type="http://schemas.openxmlformats.org/officeDocument/2006/relationships/image" Target="../media/image49.png"/><Relationship Id="rId5" Type="http://schemas.openxmlformats.org/officeDocument/2006/relationships/image" Target="../media/image66.emf"/><Relationship Id="rId4" Type="http://schemas.openxmlformats.org/officeDocument/2006/relationships/oleObject" Target="../embeddings/oleObject7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49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emf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50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10" Type="http://schemas.microsoft.com/office/2007/relationships/hdphoto" Target="../media/hdphoto5.wdp"/><Relationship Id="rId4" Type="http://schemas.openxmlformats.org/officeDocument/2006/relationships/oleObject" Target="../embeddings/oleObject78.bin"/><Relationship Id="rId9" Type="http://schemas.openxmlformats.org/officeDocument/2006/relationships/image" Target="../media/image6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A5DC87-F0C5-4EEE-9679-7AF486214D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8932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A5DC87-F0C5-4EEE-9679-7AF486214D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1A62DC4A-4D94-24F7-A4B7-98D0A89DB6E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 descr="A picture containing arrow&#10;&#10;Description automatically generated">
            <a:extLst>
              <a:ext uri="{FF2B5EF4-FFF2-40B4-BE49-F238E27FC236}">
                <a16:creationId xmlns:a16="http://schemas.microsoft.com/office/drawing/2014/main" id="{B6B6269C-C7E4-DAE9-3359-90FECF23B4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619" y="260698"/>
            <a:ext cx="2228850" cy="22288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FAB121D-6F77-D261-E285-11CB17A3157D}"/>
              </a:ext>
            </a:extLst>
          </p:cNvPr>
          <p:cNvSpPr txBox="1"/>
          <p:nvPr/>
        </p:nvSpPr>
        <p:spPr>
          <a:xfrm>
            <a:off x="1399043" y="3034928"/>
            <a:ext cx="95015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white"/>
                </a:solidFill>
                <a:latin typeface="Unity" panose="020B0505030303020204" pitchFamily="34" charset="0"/>
              </a:rPr>
              <a:t>Glass opportunity in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prstClr val="white"/>
                </a:solidFill>
                <a:latin typeface="Unity" panose="020B0505030303020204" pitchFamily="34" charset="0"/>
              </a:rPr>
              <a:t>affordability &amp; premiumizatio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ty" panose="020B0505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99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02" y="0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Lexend"/>
                <a:cs typeface="Lexend"/>
                <a:sym typeface="Lexend"/>
              </a:rPr>
              <a:t>SA’s new Pack Price Architecture -  </a:t>
            </a:r>
            <a:endParaRPr kumimoji="0" lang="th-TH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Unity" panose="020B0505030303020204" pitchFamily="34" charset="0"/>
                <a:ea typeface="Lexend"/>
                <a:cs typeface="Lexend"/>
                <a:sym typeface="Lexend"/>
              </a:rPr>
              <a:t>Immediate Consump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5BB79F-1993-F51A-9ED1-ED00DB98F7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080" y="1591201"/>
            <a:ext cx="9884640" cy="2699419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41FBEF02-8A61-E1AA-D14F-83277D05E07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8960" y="4371423"/>
            <a:ext cx="11225760" cy="2101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57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02" y="0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1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Lexend"/>
                <a:cs typeface="Lexend"/>
                <a:sym typeface="Lexend"/>
              </a:rPr>
              <a:t>The RGB bottles was transitioned from ACL proprietary bottles to universal design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06B5BE7-AE29-42ED-77E0-B726F1DCAB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200" y="1906951"/>
            <a:ext cx="10769600" cy="4574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0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02" y="0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861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Lexend"/>
                <a:cs typeface="Lexend"/>
                <a:sym typeface="Lexend"/>
              </a:rPr>
              <a:t>The Affordable Strategy has resulted in overall Local and Traditional share gains in 2021…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7DF7FD3-4D0F-3113-867B-873278BBC8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68400" y="1896980"/>
            <a:ext cx="10369409" cy="438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2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B8BA33-B3CF-41EA-9E35-4653D04027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B8BA33-B3CF-41EA-9E35-4653D0402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21696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45E150A-B4A6-1E8D-CF45-EEAA49DBB630}"/>
              </a:ext>
            </a:extLst>
          </p:cNvPr>
          <p:cNvSpPr txBox="1"/>
          <p:nvPr/>
        </p:nvSpPr>
        <p:spPr>
          <a:xfrm>
            <a:off x="1531841" y="3374851"/>
            <a:ext cx="82426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01</a:t>
            </a:r>
          </a:p>
        </p:txBody>
      </p:sp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D5126869-1ABF-47DC-9022-A9052DC14F87}"/>
              </a:ext>
            </a:extLst>
          </p:cNvPr>
          <p:cNvSpPr txBox="1"/>
          <p:nvPr/>
        </p:nvSpPr>
        <p:spPr>
          <a:xfrm>
            <a:off x="2131352" y="454466"/>
            <a:ext cx="9209748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b="1" kern="0">
                <a:solidFill>
                  <a:srgbClr val="00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SUMMARY OF ACHIEVEMENTS &amp; LEARNING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pic>
        <p:nvPicPr>
          <p:cNvPr id="46082" name="Picture 2" descr="South africa - Free flags icons">
            <a:extLst>
              <a:ext uri="{FF2B5EF4-FFF2-40B4-BE49-F238E27FC236}">
                <a16:creationId xmlns:a16="http://schemas.microsoft.com/office/drawing/2014/main" id="{5E3A44D3-F117-4AB7-8104-A9F069753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006" y="3378333"/>
            <a:ext cx="787400" cy="78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8C6A9155-45D2-445F-9CFF-B2B9FD64B136}"/>
              </a:ext>
            </a:extLst>
          </p:cNvPr>
          <p:cNvGrpSpPr/>
          <p:nvPr/>
        </p:nvGrpSpPr>
        <p:grpSpPr>
          <a:xfrm>
            <a:off x="2532980" y="1732568"/>
            <a:ext cx="3181610" cy="483107"/>
            <a:chOff x="2926228" y="3867061"/>
            <a:chExt cx="4185036" cy="483107"/>
          </a:xfrm>
        </p:grpSpPr>
        <p:pic>
          <p:nvPicPr>
            <p:cNvPr id="3" name="Picture 2" descr="Shape, rectangle&#10;&#10;Description automatically generated">
              <a:extLst>
                <a:ext uri="{FF2B5EF4-FFF2-40B4-BE49-F238E27FC236}">
                  <a16:creationId xmlns:a16="http://schemas.microsoft.com/office/drawing/2014/main" id="{C1C691CA-0B20-61A5-7460-91D4DF8FC54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flipV="1">
              <a:off x="2939032" y="3867061"/>
              <a:ext cx="4159427" cy="483107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E88E48D-D45D-44A5-58A2-ACEB55348976}"/>
                </a:ext>
              </a:extLst>
            </p:cNvPr>
            <p:cNvSpPr txBox="1"/>
            <p:nvPr/>
          </p:nvSpPr>
          <p:spPr>
            <a:xfrm>
              <a:off x="2926228" y="3888941"/>
              <a:ext cx="41850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Unity" panose="020B0505030303020204" pitchFamily="34" charset="0"/>
                  <a:ea typeface="+mn-ea"/>
                  <a:cs typeface="+mn-cs"/>
                </a:rPr>
                <a:t>ACHIEVEMENTS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CFA4BDC1-C023-41A3-8141-0C7D5964EDDA}"/>
              </a:ext>
            </a:extLst>
          </p:cNvPr>
          <p:cNvSpPr/>
          <p:nvPr/>
        </p:nvSpPr>
        <p:spPr>
          <a:xfrm>
            <a:off x="2542715" y="2323591"/>
            <a:ext cx="3171876" cy="337040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21.5% Volume growth Swing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Recovered Value Share (79.2) +3 points vs 2019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2978A0B-8D0F-476B-8876-42CFECF0A49E}"/>
              </a:ext>
            </a:extLst>
          </p:cNvPr>
          <p:cNvGrpSpPr/>
          <p:nvPr/>
        </p:nvGrpSpPr>
        <p:grpSpPr>
          <a:xfrm>
            <a:off x="5857391" y="1732568"/>
            <a:ext cx="5483709" cy="483107"/>
            <a:chOff x="2926228" y="3867061"/>
            <a:chExt cx="4185036" cy="483107"/>
          </a:xfrm>
        </p:grpSpPr>
        <p:pic>
          <p:nvPicPr>
            <p:cNvPr id="20" name="Picture 19" descr="Shape, rectangle&#10;&#10;Description automatically generated">
              <a:extLst>
                <a:ext uri="{FF2B5EF4-FFF2-40B4-BE49-F238E27FC236}">
                  <a16:creationId xmlns:a16="http://schemas.microsoft.com/office/drawing/2014/main" id="{9A5F0D1E-1855-402E-B884-654A8FB70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flipV="1">
              <a:off x="2939032" y="3867061"/>
              <a:ext cx="4159427" cy="483107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43CD02D-8BAA-4526-882C-5AD0CE9DD272}"/>
                </a:ext>
              </a:extLst>
            </p:cNvPr>
            <p:cNvSpPr txBox="1"/>
            <p:nvPr/>
          </p:nvSpPr>
          <p:spPr>
            <a:xfrm>
              <a:off x="2926228" y="3888941"/>
              <a:ext cx="41850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Unity" panose="020B0505030303020204" pitchFamily="34" charset="0"/>
                </a:rPr>
                <a:t>LEARNINGS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7AD8990F-98E2-4793-A444-1F5ECA1B2014}"/>
              </a:ext>
            </a:extLst>
          </p:cNvPr>
          <p:cNvSpPr/>
          <p:nvPr/>
        </p:nvSpPr>
        <p:spPr>
          <a:xfrm>
            <a:off x="5874168" y="2323591"/>
            <a:ext cx="5466932" cy="3370408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Stronger Pack / Price Architecture with mix of </a:t>
            </a:r>
            <a:r>
              <a:rPr lang="en-US" sz="1400" kern="0" dirty="0" err="1">
                <a:latin typeface="Unity" panose="020B0505030303020204" pitchFamily="34" charset="0"/>
                <a:sym typeface="Arial"/>
              </a:rPr>
              <a:t>refillables</a:t>
            </a:r>
            <a:r>
              <a:rPr lang="en-US" sz="1400" kern="0" dirty="0">
                <a:latin typeface="Unity" panose="020B0505030303020204" pitchFamily="34" charset="0"/>
                <a:sym typeface="Arial"/>
              </a:rPr>
              <a:t> &amp; one-way packs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RGB as a tool to achieve 5 RND (5% of DDI)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Universal bottle to drive flavors &amp; Stills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Price point compliance through paper label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Clear communication strategy with POSM &amp; deposit schemes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Highly committed level of investments within System (8 new lines) which are currently running close to capacity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defTabSz="1219170">
              <a:buClr>
                <a:schemeClr val="tx1"/>
              </a:buClr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2235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CDF03A-B0A3-4CC8-ADD9-D74AD05EF8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997294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CDF03A-B0A3-4CC8-ADD9-D74AD05EF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4D9F38B6-E95B-413A-8041-9991FAEBC7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72" t="9572" r="6842" b="2860"/>
          <a:stretch/>
        </p:blipFill>
        <p:spPr>
          <a:xfrm>
            <a:off x="812800" y="0"/>
            <a:ext cx="113792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3DD836FF-3CA3-472D-A339-11E7CD1D000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4714875"/>
            <a:ext cx="7629525" cy="1093788"/>
          </a:xfrm>
        </p:spPr>
        <p:txBody>
          <a:bodyPr vert="horz">
            <a:noAutofit/>
          </a:bodyPr>
          <a:lstStyle/>
          <a:p>
            <a:r>
              <a:rPr lang="en-US" sz="2400" dirty="0">
                <a:latin typeface="TCCC-UnityTextPC" panose="020B0505030303020204" pitchFamily="34" charset="0"/>
              </a:rPr>
              <a:t>S</a:t>
            </a:r>
            <a:r>
              <a:rPr lang="en-US" sz="2400" dirty="0" err="1">
                <a:latin typeface="TCCC-UnityTextPC" panose="020B0505030303020204" pitchFamily="34" charset="0"/>
              </a:rPr>
              <a:t>outh</a:t>
            </a:r>
            <a:r>
              <a:rPr lang="en-US" sz="2400" dirty="0">
                <a:latin typeface="TCCC-UnityTextPC" panose="020B0505030303020204" pitchFamily="34" charset="0"/>
              </a:rPr>
              <a:t> Africa - Recruitment</a:t>
            </a:r>
          </a:p>
        </p:txBody>
      </p:sp>
      <p:pic>
        <p:nvPicPr>
          <p:cNvPr id="5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67DDD04F-CABF-4D08-93AA-BB7B1E15B49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5179"/>
          <a:stretch/>
        </p:blipFill>
        <p:spPr>
          <a:xfrm>
            <a:off x="0" y="0"/>
            <a:ext cx="7903029" cy="6858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picture containing arrow&#10;&#10;Description automatically generated">
            <a:extLst>
              <a:ext uri="{FF2B5EF4-FFF2-40B4-BE49-F238E27FC236}">
                <a16:creationId xmlns:a16="http://schemas.microsoft.com/office/drawing/2014/main" id="{9BC717B4-E4B5-49EA-BC1A-E8E22EA320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619" y="260698"/>
            <a:ext cx="2228850" cy="22288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A84F666-7190-4605-B6EB-201F94A42A36}"/>
              </a:ext>
            </a:extLst>
          </p:cNvPr>
          <p:cNvSpPr txBox="1"/>
          <p:nvPr/>
        </p:nvSpPr>
        <p:spPr>
          <a:xfrm>
            <a:off x="1538744" y="2290961"/>
            <a:ext cx="371905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HORECA IBERIA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prstClr val="white"/>
              </a:solidFill>
              <a:latin typeface="Unity" panose="020B0505030303020204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prstClr val="white"/>
                </a:solidFill>
                <a:latin typeface="Unity" panose="020B0505030303020204" pitchFamily="34" charset="0"/>
              </a:rPr>
              <a:t>R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es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 RTM together with clear consumer &amp; trade support to drive premiumization i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HoReC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ty" panose="020B0505030303020204" pitchFamily="34" charset="0"/>
            </a:endParaRPr>
          </a:p>
        </p:txBody>
      </p:sp>
      <p:pic>
        <p:nvPicPr>
          <p:cNvPr id="11" name="Picture 6" descr="Round icon. Illustration of flag of Spain">
            <a:extLst>
              <a:ext uri="{FF2B5EF4-FFF2-40B4-BE49-F238E27FC236}">
                <a16:creationId xmlns:a16="http://schemas.microsoft.com/office/drawing/2014/main" id="{5C960474-32CC-4769-9D93-71A2B9AA9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216" b="92784" l="9653" r="89575">
                        <a14:foregroundMark x1="41313" y1="91237" x2="61390" y2="92784"/>
                        <a14:foregroundMark x1="44788" y1="8247" x2="55985" y2="72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049" y="2120479"/>
            <a:ext cx="1046238" cy="783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535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263769"/>
          <a:ext cx="158750" cy="146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102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263769"/>
                        <a:ext cx="158750" cy="1465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Picture 79">
            <a:extLst>
              <a:ext uri="{FF2B5EF4-FFF2-40B4-BE49-F238E27FC236}">
                <a16:creationId xmlns:a16="http://schemas.microsoft.com/office/drawing/2014/main" id="{23EBF26B-6F41-4F08-B765-6C615E0450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 bwMode="auto">
          <a:xfrm>
            <a:off x="1378396" y="1622187"/>
            <a:ext cx="1906073" cy="16291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77" name="Rectangle 76"/>
          <p:cNvSpPr/>
          <p:nvPr/>
        </p:nvSpPr>
        <p:spPr bwMode="auto">
          <a:xfrm>
            <a:off x="541089" y="1127221"/>
            <a:ext cx="5344202" cy="245986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79" name="Title 1"/>
          <p:cNvSpPr txBox="1">
            <a:spLocks/>
          </p:cNvSpPr>
          <p:nvPr/>
        </p:nvSpPr>
        <p:spPr bwMode="auto">
          <a:xfrm>
            <a:off x="603590" y="768968"/>
            <a:ext cx="4955653" cy="4409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HORECA is a key channel for Iberia </a:t>
            </a:r>
          </a:p>
        </p:txBody>
      </p:sp>
      <p:sp>
        <p:nvSpPr>
          <p:cNvPr id="82" name="Title 1"/>
          <p:cNvSpPr txBox="1">
            <a:spLocks/>
          </p:cNvSpPr>
          <p:nvPr/>
        </p:nvSpPr>
        <p:spPr bwMode="auto">
          <a:xfrm>
            <a:off x="8080416" y="1553614"/>
            <a:ext cx="749838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Value</a:t>
            </a:r>
          </a:p>
        </p:txBody>
      </p:sp>
      <p:graphicFrame>
        <p:nvGraphicFramePr>
          <p:cNvPr id="86" name="Chart 85"/>
          <p:cNvGraphicFramePr/>
          <p:nvPr/>
        </p:nvGraphicFramePr>
        <p:xfrm>
          <a:off x="6160259" y="1376936"/>
          <a:ext cx="4384732" cy="2223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7" name="Rectangle 86"/>
          <p:cNvSpPr/>
          <p:nvPr/>
        </p:nvSpPr>
        <p:spPr bwMode="auto">
          <a:xfrm>
            <a:off x="7218963" y="1636517"/>
            <a:ext cx="1906073" cy="16291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graphicFrame>
        <p:nvGraphicFramePr>
          <p:cNvPr id="89" name="Chart 88"/>
          <p:cNvGraphicFramePr/>
          <p:nvPr/>
        </p:nvGraphicFramePr>
        <p:xfrm>
          <a:off x="5655970" y="1468076"/>
          <a:ext cx="3747750" cy="18757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90" name="Chart 89"/>
          <p:cNvGraphicFramePr/>
          <p:nvPr/>
        </p:nvGraphicFramePr>
        <p:xfrm>
          <a:off x="8231028" y="1455198"/>
          <a:ext cx="3134573" cy="1875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5" name="Title 1"/>
          <p:cNvSpPr txBox="1">
            <a:spLocks/>
          </p:cNvSpPr>
          <p:nvPr/>
        </p:nvSpPr>
        <p:spPr bwMode="auto">
          <a:xfrm>
            <a:off x="7152014" y="1319863"/>
            <a:ext cx="749838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Vol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 idx="4294967295"/>
          </p:nvPr>
        </p:nvSpPr>
        <p:spPr>
          <a:xfrm>
            <a:off x="960842" y="354702"/>
            <a:ext cx="8072438" cy="336550"/>
          </a:xfrm>
        </p:spPr>
        <p:txBody>
          <a:bodyPr vert="horz">
            <a:normAutofit fontScale="90000"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en-US" err="1">
                <a:solidFill>
                  <a:srgbClr val="000000"/>
                </a:solidFill>
                <a:latin typeface="Unity" panose="020B0505030303020204" pitchFamily="34" charset="0"/>
              </a:rPr>
              <a:t>Horeca</a:t>
            </a:r>
            <a:r>
              <a:rPr lang="en-US">
                <a:solidFill>
                  <a:srgbClr val="000000"/>
                </a:solidFill>
                <a:latin typeface="Unity" panose="020B0505030303020204" pitchFamily="34" charset="0"/>
              </a:rPr>
              <a:t> Spain industry in a nutshell</a:t>
            </a:r>
            <a:endParaRPr lang="es-ES">
              <a:solidFill>
                <a:srgbClr val="000000"/>
              </a:solidFill>
              <a:latin typeface="Unity" panose="020B0505030303020204" pitchFamily="34" charset="0"/>
            </a:endParaRPr>
          </a:p>
        </p:txBody>
      </p:sp>
      <p:sp>
        <p:nvSpPr>
          <p:cNvPr id="140" name="Rectangle 139"/>
          <p:cNvSpPr/>
          <p:nvPr/>
        </p:nvSpPr>
        <p:spPr bwMode="auto">
          <a:xfrm>
            <a:off x="6011599" y="1127221"/>
            <a:ext cx="5344202" cy="245986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23" name="Rounded Rectangle 22"/>
          <p:cNvSpPr/>
          <p:nvPr/>
        </p:nvSpPr>
        <p:spPr bwMode="auto">
          <a:xfrm>
            <a:off x="832174" y="941301"/>
            <a:ext cx="2148242" cy="185174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C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Horec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 Outlets Universe</a:t>
            </a:r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531108" y="843506"/>
            <a:ext cx="45719" cy="2835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63" name="Title 1"/>
          <p:cNvSpPr txBox="1">
            <a:spLocks/>
          </p:cNvSpPr>
          <p:nvPr/>
        </p:nvSpPr>
        <p:spPr bwMode="auto">
          <a:xfrm>
            <a:off x="6103000" y="766320"/>
            <a:ext cx="5724076" cy="406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Drives revenue growth in value and is critical for recruiting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new consumers</a:t>
            </a:r>
          </a:p>
        </p:txBody>
      </p:sp>
      <p:sp>
        <p:nvSpPr>
          <p:cNvPr id="164" name="Rectangle 163"/>
          <p:cNvSpPr/>
          <p:nvPr/>
        </p:nvSpPr>
        <p:spPr bwMode="auto">
          <a:xfrm>
            <a:off x="6030518" y="840857"/>
            <a:ext cx="45719" cy="2835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65" name="Rectangle 164"/>
          <p:cNvSpPr/>
          <p:nvPr/>
        </p:nvSpPr>
        <p:spPr bwMode="auto">
          <a:xfrm>
            <a:off x="1403796" y="4441587"/>
            <a:ext cx="1906073" cy="162917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566489" y="4073621"/>
            <a:ext cx="5344202" cy="245986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67" name="Title 1"/>
          <p:cNvSpPr txBox="1">
            <a:spLocks/>
          </p:cNvSpPr>
          <p:nvPr/>
        </p:nvSpPr>
        <p:spPr bwMode="auto">
          <a:xfrm>
            <a:off x="628990" y="3667240"/>
            <a:ext cx="5256301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Channel particularly fragile in times of crisis</a:t>
            </a:r>
          </a:p>
        </p:txBody>
      </p:sp>
      <p:sp>
        <p:nvSpPr>
          <p:cNvPr id="176" name="Rectangle 175"/>
          <p:cNvSpPr/>
          <p:nvPr/>
        </p:nvSpPr>
        <p:spPr bwMode="auto">
          <a:xfrm>
            <a:off x="6036999" y="4073621"/>
            <a:ext cx="5344202" cy="245986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80" name="Rectangle 179"/>
          <p:cNvSpPr/>
          <p:nvPr/>
        </p:nvSpPr>
        <p:spPr bwMode="auto">
          <a:xfrm>
            <a:off x="556508" y="3741778"/>
            <a:ext cx="45719" cy="2835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182" name="Title 1"/>
          <p:cNvSpPr txBox="1">
            <a:spLocks/>
          </p:cNvSpPr>
          <p:nvPr/>
        </p:nvSpPr>
        <p:spPr bwMode="auto">
          <a:xfrm>
            <a:off x="6128400" y="3664591"/>
            <a:ext cx="5252801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and suffering a big transformation in the past years</a:t>
            </a:r>
          </a:p>
        </p:txBody>
      </p:sp>
      <p:sp>
        <p:nvSpPr>
          <p:cNvPr id="183" name="Rectangle 182"/>
          <p:cNvSpPr/>
          <p:nvPr/>
        </p:nvSpPr>
        <p:spPr bwMode="auto">
          <a:xfrm>
            <a:off x="6055918" y="3739129"/>
            <a:ext cx="45719" cy="2835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88" name="Title 1"/>
          <p:cNvSpPr txBox="1">
            <a:spLocks/>
          </p:cNvSpPr>
          <p:nvPr/>
        </p:nvSpPr>
        <p:spPr bwMode="auto">
          <a:xfrm>
            <a:off x="9432469" y="1285386"/>
            <a:ext cx="749838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NSR</a:t>
            </a:r>
          </a:p>
        </p:txBody>
      </p:sp>
      <p:sp>
        <p:nvSpPr>
          <p:cNvPr id="81" name="Title 1"/>
          <p:cNvSpPr txBox="1">
            <a:spLocks/>
          </p:cNvSpPr>
          <p:nvPr/>
        </p:nvSpPr>
        <p:spPr bwMode="auto">
          <a:xfrm>
            <a:off x="6034455" y="1121924"/>
            <a:ext cx="1977896" cy="373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Source of Profit, Spain 2019</a:t>
            </a:r>
          </a:p>
        </p:txBody>
      </p:sp>
      <p:sp>
        <p:nvSpPr>
          <p:cNvPr id="189" name="Title 1"/>
          <p:cNvSpPr txBox="1">
            <a:spLocks/>
          </p:cNvSpPr>
          <p:nvPr/>
        </p:nvSpPr>
        <p:spPr bwMode="auto">
          <a:xfrm>
            <a:off x="10494044" y="2756406"/>
            <a:ext cx="887157" cy="452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  80% Glass</a:t>
            </a:r>
          </a:p>
        </p:txBody>
      </p:sp>
      <p:cxnSp>
        <p:nvCxnSpPr>
          <p:cNvPr id="37" name="Straight Arrow Connector 36"/>
          <p:cNvCxnSpPr/>
          <p:nvPr/>
        </p:nvCxnSpPr>
        <p:spPr bwMode="auto">
          <a:xfrm flipH="1" flipV="1">
            <a:off x="10504716" y="2611763"/>
            <a:ext cx="238637" cy="13639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190" name="Chart 189"/>
          <p:cNvGraphicFramePr/>
          <p:nvPr/>
        </p:nvGraphicFramePr>
        <p:xfrm>
          <a:off x="2203528" y="2428843"/>
          <a:ext cx="2877554" cy="12053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91" name="Title 1"/>
          <p:cNvSpPr txBox="1">
            <a:spLocks/>
          </p:cNvSpPr>
          <p:nvPr/>
        </p:nvSpPr>
        <p:spPr bwMode="auto">
          <a:xfrm>
            <a:off x="2065817" y="2828335"/>
            <a:ext cx="1694084" cy="534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</a:rPr>
              <a:t>  KO NARTD Share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F30009">
                    <a:lumMod val="10000"/>
                  </a:srgbClr>
                </a:solidFill>
                <a:effectLst/>
                <a:uLnTx/>
                <a:uFillTx/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Wingdings 3" panose="05040102010807070707" pitchFamily="18" charset="2"/>
              </a:rPr>
              <a:t></a:t>
            </a: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F30009">
                  <a:lumMod val="10000"/>
                </a:srgbClr>
              </a:solidFill>
              <a:effectLst/>
              <a:uLnTx/>
              <a:uFillTx/>
              <a:latin typeface="Calibri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0" name="Chart 39"/>
          <p:cNvGraphicFramePr/>
          <p:nvPr/>
        </p:nvGraphicFramePr>
        <p:xfrm>
          <a:off x="2039580" y="4260569"/>
          <a:ext cx="3705120" cy="2330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92" name="Rounded Rectangle 191"/>
          <p:cNvSpPr/>
          <p:nvPr/>
        </p:nvSpPr>
        <p:spPr bwMode="auto">
          <a:xfrm>
            <a:off x="2365891" y="4055297"/>
            <a:ext cx="2276903" cy="7864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  <a:sym typeface="Wingdings 3" panose="05040102010807070707" pitchFamily="18" charset="2"/>
              </a:rPr>
              <a:t>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50.000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Outlets</a:t>
            </a: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cxnSp>
        <p:nvCxnSpPr>
          <p:cNvPr id="42" name="Straight Arrow Connector 41"/>
          <p:cNvCxnSpPr>
            <a:cxnSpLocks/>
          </p:cNvCxnSpPr>
          <p:nvPr/>
        </p:nvCxnSpPr>
        <p:spPr bwMode="auto">
          <a:xfrm>
            <a:off x="2997399" y="4630243"/>
            <a:ext cx="654956" cy="24435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4" name="Rounded Rectangle 53"/>
          <p:cNvSpPr/>
          <p:nvPr/>
        </p:nvSpPr>
        <p:spPr bwMode="auto">
          <a:xfrm>
            <a:off x="733386" y="1584407"/>
            <a:ext cx="2302920" cy="733424"/>
          </a:xfrm>
          <a:prstGeom prst="roundRect">
            <a:avLst>
              <a:gd name="adj" fmla="val 11746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>
            <a:off x="886755" y="1507167"/>
            <a:ext cx="1960377" cy="86385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220.000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56" name="Rounded Rectangle 55"/>
          <p:cNvSpPr/>
          <p:nvPr/>
        </p:nvSpPr>
        <p:spPr bwMode="auto">
          <a:xfrm>
            <a:off x="706370" y="1205169"/>
            <a:ext cx="2148242" cy="40586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Spain</a:t>
            </a: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pic>
        <p:nvPicPr>
          <p:cNvPr id="57" name="Picture 2" descr="O:\BU-CocaCola\My Coke\Archivos Coca-Cola Regular\2015\4. Proyecto Contour\0. IBERIA\5. PSL\Renders\RB 237 CCR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8" r="17979"/>
          <a:stretch/>
        </p:blipFill>
        <p:spPr bwMode="auto">
          <a:xfrm>
            <a:off x="10783914" y="1704346"/>
            <a:ext cx="356232" cy="1081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01" y="4158201"/>
            <a:ext cx="309994" cy="309994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160" y="4158201"/>
            <a:ext cx="309994" cy="309994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458" y="4158201"/>
            <a:ext cx="309994" cy="309994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846" y="4158201"/>
            <a:ext cx="309994" cy="309994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43" y="4564601"/>
            <a:ext cx="309994" cy="309994"/>
          </a:xfrm>
          <a:prstGeom prst="rect">
            <a:avLst/>
          </a:prstGeom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02" y="4564601"/>
            <a:ext cx="309994" cy="309994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7100" y="4564601"/>
            <a:ext cx="309994" cy="309994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7488" y="4564601"/>
            <a:ext cx="309994" cy="309994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334" y="4954730"/>
            <a:ext cx="309994" cy="309994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593" y="4954730"/>
            <a:ext cx="309994" cy="309994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891" y="4954730"/>
            <a:ext cx="309994" cy="309994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279" y="4954730"/>
            <a:ext cx="309994" cy="309994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76" y="5361130"/>
            <a:ext cx="309994" cy="309994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35" y="5361130"/>
            <a:ext cx="309994" cy="309994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0533" y="5361130"/>
            <a:ext cx="309994" cy="309994"/>
          </a:xfrm>
          <a:prstGeom prst="rect">
            <a:avLst/>
          </a:prstGeom>
        </p:spPr>
      </p:pic>
      <p:pic>
        <p:nvPicPr>
          <p:cNvPr id="71" name="Picture 7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921" y="5361130"/>
            <a:ext cx="309994" cy="309994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99" y="5730162"/>
            <a:ext cx="309994" cy="309994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358" y="5730162"/>
            <a:ext cx="309994" cy="309994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656" y="5730162"/>
            <a:ext cx="309994" cy="309994"/>
          </a:xfrm>
          <a:prstGeom prst="rect">
            <a:avLst/>
          </a:prstGeom>
        </p:spPr>
      </p:pic>
      <p:pic>
        <p:nvPicPr>
          <p:cNvPr id="101" name="Picture 10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3044" y="5730162"/>
            <a:ext cx="309994" cy="309994"/>
          </a:xfrm>
          <a:prstGeom prst="rect">
            <a:avLst/>
          </a:prstGeom>
        </p:spPr>
      </p:pic>
      <p:pic>
        <p:nvPicPr>
          <p:cNvPr id="102" name="Picture 10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1" y="6136562"/>
            <a:ext cx="309994" cy="309994"/>
          </a:xfrm>
          <a:prstGeom prst="rect">
            <a:avLst/>
          </a:prstGeom>
        </p:spPr>
      </p:pic>
      <p:pic>
        <p:nvPicPr>
          <p:cNvPr id="103" name="Picture 10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00" y="6136562"/>
            <a:ext cx="309994" cy="309994"/>
          </a:xfrm>
          <a:prstGeom prst="rect">
            <a:avLst/>
          </a:prstGeom>
        </p:spPr>
      </p:pic>
      <p:pic>
        <p:nvPicPr>
          <p:cNvPr id="104" name="Picture 10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2298" y="6136562"/>
            <a:ext cx="309994" cy="309994"/>
          </a:xfrm>
          <a:prstGeom prst="rect">
            <a:avLst/>
          </a:prstGeom>
        </p:spPr>
      </p:pic>
      <p:pic>
        <p:nvPicPr>
          <p:cNvPr id="105" name="Picture 10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86" y="6136562"/>
            <a:ext cx="309994" cy="309994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 bwMode="auto">
          <a:xfrm flipH="1">
            <a:off x="1707034" y="4224241"/>
            <a:ext cx="385705" cy="2809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/>
          <p:nvPr/>
        </p:nvCxnSpPr>
        <p:spPr bwMode="auto">
          <a:xfrm flipH="1">
            <a:off x="1678627" y="4608920"/>
            <a:ext cx="385705" cy="2809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/>
        </p:nvCxnSpPr>
        <p:spPr bwMode="auto">
          <a:xfrm flipH="1">
            <a:off x="1341944" y="4181537"/>
            <a:ext cx="385705" cy="2809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/>
        </p:nvCxnSpPr>
        <p:spPr bwMode="auto">
          <a:xfrm flipH="1">
            <a:off x="1300494" y="4604336"/>
            <a:ext cx="385705" cy="28097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7053B1D3-57D6-4DA0-8A44-E25234547F8D}"/>
              </a:ext>
            </a:extLst>
          </p:cNvPr>
          <p:cNvCxnSpPr>
            <a:cxnSpLocks/>
          </p:cNvCxnSpPr>
          <p:nvPr/>
        </p:nvCxnSpPr>
        <p:spPr bwMode="auto">
          <a:xfrm>
            <a:off x="4172622" y="4934538"/>
            <a:ext cx="654956" cy="24435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78" name="Rounded Rectangle 191">
            <a:extLst>
              <a:ext uri="{FF2B5EF4-FFF2-40B4-BE49-F238E27FC236}">
                <a16:creationId xmlns:a16="http://schemas.microsoft.com/office/drawing/2014/main" id="{613D66B9-D2E9-4FAA-8F7C-B3D77782F3B9}"/>
              </a:ext>
            </a:extLst>
          </p:cNvPr>
          <p:cNvSpPr/>
          <p:nvPr/>
        </p:nvSpPr>
        <p:spPr bwMode="auto">
          <a:xfrm>
            <a:off x="3831637" y="4419048"/>
            <a:ext cx="2276903" cy="78641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  <a:sym typeface="Wingdings 3" panose="05040102010807070707" pitchFamily="18" charset="2"/>
              </a:rPr>
              <a:t>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15.000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1" charset="-128"/>
                <a:cs typeface="ＭＳ Ｐゴシック" pitchFamily="1" charset="-128"/>
              </a:rPr>
              <a:t>Outlets</a:t>
            </a:r>
            <a:endParaRPr kumimoji="0" lang="es-E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7ABF30-46E0-4038-B14E-A9DF5294D078}"/>
              </a:ext>
            </a:extLst>
          </p:cNvPr>
          <p:cNvSpPr/>
          <p:nvPr/>
        </p:nvSpPr>
        <p:spPr bwMode="auto">
          <a:xfrm>
            <a:off x="7152014" y="6136562"/>
            <a:ext cx="3122083" cy="29614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1" charset="-128"/>
              <a:cs typeface="ＭＳ Ｐゴシック" pitchFamily="1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084BCB0-7F3E-4DBE-B7E5-2DF12E97BBD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16493"/>
          <a:stretch/>
        </p:blipFill>
        <p:spPr>
          <a:xfrm>
            <a:off x="6160259" y="4113686"/>
            <a:ext cx="4305290" cy="2319020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BD1AD67F-DEB1-45EB-A0FA-E4F2F4BA2D0A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70036" t="85007" r="22079" b="757"/>
          <a:stretch/>
        </p:blipFill>
        <p:spPr>
          <a:xfrm>
            <a:off x="10672412" y="5568245"/>
            <a:ext cx="579235" cy="674563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5EE1632D-0F4E-402B-97CE-000CBD237E7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79409" t="86010" r="7692" b="1317"/>
          <a:stretch/>
        </p:blipFill>
        <p:spPr>
          <a:xfrm>
            <a:off x="10434306" y="4509230"/>
            <a:ext cx="947511" cy="600497"/>
          </a:xfrm>
          <a:prstGeom prst="rect">
            <a:avLst/>
          </a:prstGeom>
        </p:spPr>
      </p:pic>
      <p:pic>
        <p:nvPicPr>
          <p:cNvPr id="75" name="Picture 74" descr="Shape, arrow&#10;&#10;Description automatically generated">
            <a:extLst>
              <a:ext uri="{FF2B5EF4-FFF2-40B4-BE49-F238E27FC236}">
                <a16:creationId xmlns:a16="http://schemas.microsoft.com/office/drawing/2014/main" id="{838FC46D-5BAD-4E76-801B-6734BB47BDE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7747" y="60627"/>
            <a:ext cx="823095" cy="82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31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759C81E-C497-487E-8367-F641B7F6B7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9549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759C81E-C497-487E-8367-F641B7F6B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00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Spain new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Lexend"/>
                <a:cs typeface="Lexend"/>
                <a:sym typeface="Lexend"/>
              </a:rPr>
              <a:t>RTM is founded to support HORECA and its development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7BED502-DA87-4F77-ADA5-50958B3099C0}"/>
              </a:ext>
            </a:extLst>
          </p:cNvPr>
          <p:cNvSpPr/>
          <p:nvPr/>
        </p:nvSpPr>
        <p:spPr bwMode="auto">
          <a:xfrm>
            <a:off x="2829046" y="4502034"/>
            <a:ext cx="7832715" cy="20376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>
                <a:lumMod val="8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F1371BDC-E598-4DF3-9649-556B5F786F32}"/>
              </a:ext>
            </a:extLst>
          </p:cNvPr>
          <p:cNvCxnSpPr/>
          <p:nvPr/>
        </p:nvCxnSpPr>
        <p:spPr bwMode="auto">
          <a:xfrm>
            <a:off x="4936471" y="4844859"/>
            <a:ext cx="0" cy="1611799"/>
          </a:xfrm>
          <a:prstGeom prst="line">
            <a:avLst/>
          </a:prstGeom>
          <a:solidFill>
            <a:srgbClr val="CC0000"/>
          </a:solidFill>
          <a:ln w="9525" cap="flat" cmpd="sng" algn="ctr">
            <a:solidFill>
              <a:srgbClr val="FFFFFF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5" name="Rounded Rectangle 142">
            <a:extLst>
              <a:ext uri="{FF2B5EF4-FFF2-40B4-BE49-F238E27FC236}">
                <a16:creationId xmlns:a16="http://schemas.microsoft.com/office/drawing/2014/main" id="{DD1EFF9A-1A78-4641-9E62-5860A96C237C}"/>
              </a:ext>
            </a:extLst>
          </p:cNvPr>
          <p:cNvSpPr/>
          <p:nvPr/>
        </p:nvSpPr>
        <p:spPr bwMode="auto">
          <a:xfrm>
            <a:off x="4914217" y="4931451"/>
            <a:ext cx="2640057" cy="1608223"/>
          </a:xfrm>
          <a:prstGeom prst="round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25 </a:t>
            </a: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SKUs</a:t>
            </a:r>
          </a:p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20 </a:t>
            </a: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SKU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ea typeface="ＭＳ Ｐゴシック" pitchFamily="1" charset="-128"/>
              <a:cs typeface="ＭＳ Ｐゴシック" pitchFamily="1" charset="-128"/>
              <a:sym typeface="Arial"/>
            </a:endParaRPr>
          </a:p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CC0000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13 </a:t>
            </a: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rPr>
              <a:t>SKUs</a:t>
            </a:r>
          </a:p>
        </p:txBody>
      </p:sp>
      <p:pic>
        <p:nvPicPr>
          <p:cNvPr id="166" name="Picture 165">
            <a:extLst>
              <a:ext uri="{FF2B5EF4-FFF2-40B4-BE49-F238E27FC236}">
                <a16:creationId xmlns:a16="http://schemas.microsoft.com/office/drawing/2014/main" id="{D6065B24-256B-46D2-94A2-4C71DD7154E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38" t="17920" r="28947" b="4553"/>
          <a:stretch/>
        </p:blipFill>
        <p:spPr>
          <a:xfrm>
            <a:off x="6542623" y="4980337"/>
            <a:ext cx="302859" cy="444700"/>
          </a:xfrm>
          <a:prstGeom prst="rect">
            <a:avLst/>
          </a:prstGeom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A9D9AD30-510F-4934-B130-E3433326F35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433" t="-1677" r="6789" b="38180"/>
          <a:stretch/>
        </p:blipFill>
        <p:spPr>
          <a:xfrm>
            <a:off x="6528396" y="5961773"/>
            <a:ext cx="300206" cy="546595"/>
          </a:xfrm>
          <a:prstGeom prst="rect">
            <a:avLst/>
          </a:prstGeom>
        </p:spPr>
      </p:pic>
      <p:sp>
        <p:nvSpPr>
          <p:cNvPr id="168" name="Rounded Rectangle 146">
            <a:extLst>
              <a:ext uri="{FF2B5EF4-FFF2-40B4-BE49-F238E27FC236}">
                <a16:creationId xmlns:a16="http://schemas.microsoft.com/office/drawing/2014/main" id="{02DBA238-E19F-470E-B7BA-BDCAD7E3D849}"/>
              </a:ext>
            </a:extLst>
          </p:cNvPr>
          <p:cNvSpPr/>
          <p:nvPr/>
        </p:nvSpPr>
        <p:spPr bwMode="auto">
          <a:xfrm>
            <a:off x="5085222" y="4521495"/>
            <a:ext cx="2547900" cy="37496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50" b="1" dirty="0">
                <a:solidFill>
                  <a:srgbClr val="000000"/>
                </a:solidFill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Aspirational Picture </a:t>
            </a:r>
            <a:r>
              <a:rPr lang="en-US" sz="1050" b="1">
                <a:solidFill>
                  <a:srgbClr val="000000"/>
                </a:solidFill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of Success</a:t>
            </a:r>
            <a:endParaRPr lang="en-US" sz="1050" b="1" dirty="0">
              <a:solidFill>
                <a:srgbClr val="000000"/>
              </a:solidFill>
              <a:latin typeface="Unity" panose="020B0505030303020204" pitchFamily="34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69" name="Rounded Rectangle 147">
            <a:extLst>
              <a:ext uri="{FF2B5EF4-FFF2-40B4-BE49-F238E27FC236}">
                <a16:creationId xmlns:a16="http://schemas.microsoft.com/office/drawing/2014/main" id="{77EBC7F5-EAC2-4233-B95B-5D3B701D3436}"/>
              </a:ext>
            </a:extLst>
          </p:cNvPr>
          <p:cNvSpPr/>
          <p:nvPr/>
        </p:nvSpPr>
        <p:spPr bwMode="auto">
          <a:xfrm>
            <a:off x="6767502" y="5073079"/>
            <a:ext cx="786775" cy="37496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FFC000"/>
                </a:solidFill>
                <a:ea typeface="ＭＳ Ｐゴシック" pitchFamily="1" charset="-128"/>
                <a:cs typeface="ＭＳ Ｐゴシック" pitchFamily="1" charset="-128"/>
                <a:sym typeface="Arial"/>
              </a:rPr>
              <a:t>Gold</a:t>
            </a:r>
            <a:endParaRPr lang="en-US" sz="1100" b="1" dirty="0">
              <a:solidFill>
                <a:srgbClr val="FFC000"/>
              </a:solidFill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70" name="Rounded Rectangle 149">
            <a:extLst>
              <a:ext uri="{FF2B5EF4-FFF2-40B4-BE49-F238E27FC236}">
                <a16:creationId xmlns:a16="http://schemas.microsoft.com/office/drawing/2014/main" id="{A2C7E933-8278-4087-8562-09235822D874}"/>
              </a:ext>
            </a:extLst>
          </p:cNvPr>
          <p:cNvSpPr/>
          <p:nvPr/>
        </p:nvSpPr>
        <p:spPr bwMode="auto">
          <a:xfrm>
            <a:off x="6746679" y="6076822"/>
            <a:ext cx="949251" cy="37496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EFE0D1">
                    <a:lumMod val="50000"/>
                  </a:srgbClr>
                </a:solidFill>
                <a:ea typeface="ＭＳ Ｐゴシック" pitchFamily="1" charset="-128"/>
                <a:cs typeface="ＭＳ Ｐゴシック" pitchFamily="1" charset="-128"/>
                <a:sym typeface="Arial"/>
              </a:rPr>
              <a:t>Bronze</a:t>
            </a:r>
            <a:endParaRPr lang="en-US" sz="1100" b="1" dirty="0">
              <a:solidFill>
                <a:srgbClr val="EFE0D1">
                  <a:lumMod val="50000"/>
                </a:srgbClr>
              </a:solidFill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pic>
        <p:nvPicPr>
          <p:cNvPr id="171" name="Picture 170">
            <a:extLst>
              <a:ext uri="{FF2B5EF4-FFF2-40B4-BE49-F238E27FC236}">
                <a16:creationId xmlns:a16="http://schemas.microsoft.com/office/drawing/2014/main" id="{24AEA81F-F0E8-43D7-A3D9-F8F9CBB7039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94" t="586" r="64779" b="21886"/>
          <a:stretch/>
        </p:blipFill>
        <p:spPr>
          <a:xfrm>
            <a:off x="6464553" y="5478240"/>
            <a:ext cx="421935" cy="619547"/>
          </a:xfrm>
          <a:prstGeom prst="rect">
            <a:avLst/>
          </a:prstGeom>
        </p:spPr>
      </p:pic>
      <p:sp>
        <p:nvSpPr>
          <p:cNvPr id="172" name="Rounded Rectangle 148">
            <a:extLst>
              <a:ext uri="{FF2B5EF4-FFF2-40B4-BE49-F238E27FC236}">
                <a16:creationId xmlns:a16="http://schemas.microsoft.com/office/drawing/2014/main" id="{1451574B-CFFC-4385-8F2D-B79D4FF993C6}"/>
              </a:ext>
            </a:extLst>
          </p:cNvPr>
          <p:cNvSpPr/>
          <p:nvPr/>
        </p:nvSpPr>
        <p:spPr bwMode="auto">
          <a:xfrm>
            <a:off x="6781936" y="5551071"/>
            <a:ext cx="786775" cy="374964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rgbClr val="FFFFFF">
                    <a:lumMod val="65000"/>
                  </a:srgbClr>
                </a:solidFill>
                <a:ea typeface="ＭＳ Ｐゴシック" pitchFamily="1" charset="-128"/>
                <a:cs typeface="ＭＳ Ｐゴシック" pitchFamily="1" charset="-128"/>
                <a:sym typeface="Arial"/>
              </a:rPr>
              <a:t>Silver</a:t>
            </a:r>
            <a:endParaRPr lang="en-US" sz="1100" b="1" dirty="0">
              <a:solidFill>
                <a:srgbClr val="FFFFFF">
                  <a:lumMod val="65000"/>
                </a:srgbClr>
              </a:solidFill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graphicFrame>
        <p:nvGraphicFramePr>
          <p:cNvPr id="173" name="Chart 172">
            <a:extLst>
              <a:ext uri="{FF2B5EF4-FFF2-40B4-BE49-F238E27FC236}">
                <a16:creationId xmlns:a16="http://schemas.microsoft.com/office/drawing/2014/main" id="{E9151C92-A815-4E2F-8349-6649338B17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8365559"/>
              </p:ext>
            </p:extLst>
          </p:nvPr>
        </p:nvGraphicFramePr>
        <p:xfrm>
          <a:off x="8367720" y="5225691"/>
          <a:ext cx="2159315" cy="1405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4E6177EA-C4C1-4454-B391-75B247C533B4}"/>
              </a:ext>
            </a:extLst>
          </p:cNvPr>
          <p:cNvCxnSpPr/>
          <p:nvPr/>
        </p:nvCxnSpPr>
        <p:spPr bwMode="auto">
          <a:xfrm flipV="1">
            <a:off x="9261266" y="5556857"/>
            <a:ext cx="369157" cy="146727"/>
          </a:xfrm>
          <a:prstGeom prst="straightConnector1">
            <a:avLst/>
          </a:prstGeom>
          <a:solidFill>
            <a:srgbClr val="CC0000"/>
          </a:solidFill>
          <a:ln w="28575" cap="flat" cmpd="sng" algn="ctr">
            <a:solidFill>
              <a:srgbClr val="CC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5" name="Rounded Rectangle 153">
            <a:extLst>
              <a:ext uri="{FF2B5EF4-FFF2-40B4-BE49-F238E27FC236}">
                <a16:creationId xmlns:a16="http://schemas.microsoft.com/office/drawing/2014/main" id="{90716AF7-DFB5-4ED8-85AB-B4E88DF1F514}"/>
              </a:ext>
            </a:extLst>
          </p:cNvPr>
          <p:cNvSpPr/>
          <p:nvPr/>
        </p:nvSpPr>
        <p:spPr bwMode="auto">
          <a:xfrm>
            <a:off x="8050396" y="4521495"/>
            <a:ext cx="2547900" cy="374964"/>
          </a:xfrm>
          <a:prstGeom prst="round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PicOS</a:t>
            </a:r>
            <a:r>
              <a:rPr kumimoji="0" lang="en-US" sz="105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 Achievement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76" name="Right Arrow 13">
            <a:extLst>
              <a:ext uri="{FF2B5EF4-FFF2-40B4-BE49-F238E27FC236}">
                <a16:creationId xmlns:a16="http://schemas.microsoft.com/office/drawing/2014/main" id="{C7668111-3110-49E8-B12B-9964FBF62094}"/>
              </a:ext>
            </a:extLst>
          </p:cNvPr>
          <p:cNvSpPr/>
          <p:nvPr/>
        </p:nvSpPr>
        <p:spPr bwMode="auto">
          <a:xfrm>
            <a:off x="7971550" y="5092425"/>
            <a:ext cx="245839" cy="1116667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77" name="Rounded Rectangle 14">
            <a:extLst>
              <a:ext uri="{FF2B5EF4-FFF2-40B4-BE49-F238E27FC236}">
                <a16:creationId xmlns:a16="http://schemas.microsoft.com/office/drawing/2014/main" id="{07A1476D-3E58-4670-B5CD-2E09D99E74E7}"/>
              </a:ext>
            </a:extLst>
          </p:cNvPr>
          <p:cNvSpPr/>
          <p:nvPr/>
        </p:nvSpPr>
        <p:spPr bwMode="auto">
          <a:xfrm>
            <a:off x="3195481" y="5063527"/>
            <a:ext cx="1320580" cy="733424"/>
          </a:xfrm>
          <a:prstGeom prst="roundRect">
            <a:avLst>
              <a:gd name="adj" fmla="val 6824"/>
            </a:avLst>
          </a:prstGeom>
          <a:solidFill>
            <a:srgbClr val="CC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78" name="Rounded Rectangle 140">
            <a:extLst>
              <a:ext uri="{FF2B5EF4-FFF2-40B4-BE49-F238E27FC236}">
                <a16:creationId xmlns:a16="http://schemas.microsoft.com/office/drawing/2014/main" id="{6C21B3DF-83E1-452F-9594-0C6DFCDD1CBC}"/>
              </a:ext>
            </a:extLst>
          </p:cNvPr>
          <p:cNvSpPr/>
          <p:nvPr/>
        </p:nvSpPr>
        <p:spPr bwMode="auto">
          <a:xfrm>
            <a:off x="3195480" y="4983505"/>
            <a:ext cx="1333888" cy="863851"/>
          </a:xfrm>
          <a:prstGeom prst="roundRect">
            <a:avLst/>
          </a:prstGeom>
          <a:noFill/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377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94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Unity" panose="020B0505030303020204" pitchFamily="34" charset="0"/>
                <a:ea typeface="ＭＳ Ｐゴシック" pitchFamily="1" charset="-128"/>
                <a:cs typeface="ＭＳ Ｐゴシック" pitchFamily="1" charset="-128"/>
                <a:sym typeface="Arial"/>
              </a:rPr>
              <a:t>%</a:t>
            </a:r>
          </a:p>
        </p:txBody>
      </p:sp>
      <p:sp>
        <p:nvSpPr>
          <p:cNvPr id="179" name="Rounded Rectangle 155">
            <a:extLst>
              <a:ext uri="{FF2B5EF4-FFF2-40B4-BE49-F238E27FC236}">
                <a16:creationId xmlns:a16="http://schemas.microsoft.com/office/drawing/2014/main" id="{02A428F4-5106-4AA6-B27E-13E8D5F47062}"/>
              </a:ext>
            </a:extLst>
          </p:cNvPr>
          <p:cNvSpPr/>
          <p:nvPr/>
        </p:nvSpPr>
        <p:spPr bwMode="auto">
          <a:xfrm>
            <a:off x="2978206" y="5766947"/>
            <a:ext cx="1831967" cy="49735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3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000000"/>
                </a:solidFill>
                <a:ea typeface="ＭＳ Ｐゴシック" pitchFamily="1" charset="-128"/>
                <a:cs typeface="ＭＳ Ｐゴシック" pitchFamily="1" charset="-128"/>
                <a:sym typeface="Arial"/>
              </a:rPr>
              <a:t>RED Coverage</a:t>
            </a:r>
            <a:endParaRPr lang="en-US" sz="1400" dirty="0">
              <a:solidFill>
                <a:srgbClr val="000000"/>
              </a:solidFill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C880D47-6A2D-4B32-B2D7-6B23DFF37AC4}"/>
              </a:ext>
            </a:extLst>
          </p:cNvPr>
          <p:cNvGrpSpPr/>
          <p:nvPr/>
        </p:nvGrpSpPr>
        <p:grpSpPr>
          <a:xfrm>
            <a:off x="2775918" y="2176874"/>
            <a:ext cx="7923287" cy="2182938"/>
            <a:chOff x="2538011" y="1723297"/>
            <a:chExt cx="7923287" cy="2182938"/>
          </a:xfrm>
        </p:grpSpPr>
        <p:sp>
          <p:nvSpPr>
            <p:cNvPr id="160" name="Rectangle 159">
              <a:extLst>
                <a:ext uri="{FF2B5EF4-FFF2-40B4-BE49-F238E27FC236}">
                  <a16:creationId xmlns:a16="http://schemas.microsoft.com/office/drawing/2014/main" id="{3307C44F-620B-41C2-983B-6942509F2D6E}"/>
                </a:ext>
              </a:extLst>
            </p:cNvPr>
            <p:cNvSpPr/>
            <p:nvPr/>
          </p:nvSpPr>
          <p:spPr bwMode="auto">
            <a:xfrm>
              <a:off x="2628583" y="1793513"/>
              <a:ext cx="5859692" cy="2099257"/>
            </a:xfrm>
            <a:prstGeom prst="rect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161" name="Title 1">
              <a:extLst>
                <a:ext uri="{FF2B5EF4-FFF2-40B4-BE49-F238E27FC236}">
                  <a16:creationId xmlns:a16="http://schemas.microsoft.com/office/drawing/2014/main" id="{D4FCA0DD-C2F2-46C6-9597-6F474380784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538011" y="1723297"/>
              <a:ext cx="168464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12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3 onwards</a:t>
              </a: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3CAF3503-7AEB-468F-A61D-B2696BC30723}"/>
                </a:ext>
              </a:extLst>
            </p:cNvPr>
            <p:cNvSpPr/>
            <p:nvPr/>
          </p:nvSpPr>
          <p:spPr bwMode="auto">
            <a:xfrm>
              <a:off x="8593862" y="1793513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163" name="Title 1">
              <a:extLst>
                <a:ext uri="{FF2B5EF4-FFF2-40B4-BE49-F238E27FC236}">
                  <a16:creationId xmlns:a16="http://schemas.microsoft.com/office/drawing/2014/main" id="{FCB60BBC-A11B-4359-BA67-709D302C0FA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527088" y="1727564"/>
              <a:ext cx="1622374" cy="396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12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6 onwards</a:t>
              </a:r>
            </a:p>
          </p:txBody>
        </p:sp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id="{8D2079E0-8B98-4D20-82E2-E6D813CEFAA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20" r="50037" b="21658"/>
            <a:stretch/>
          </p:blipFill>
          <p:spPr bwMode="auto">
            <a:xfrm>
              <a:off x="8977877" y="2056796"/>
              <a:ext cx="1175005" cy="12478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1" name="Pentagon 157">
              <a:extLst>
                <a:ext uri="{FF2B5EF4-FFF2-40B4-BE49-F238E27FC236}">
                  <a16:creationId xmlns:a16="http://schemas.microsoft.com/office/drawing/2014/main" id="{6073768E-FF80-4E88-BC12-907E190C62F2}"/>
                </a:ext>
              </a:extLst>
            </p:cNvPr>
            <p:cNvSpPr/>
            <p:nvPr/>
          </p:nvSpPr>
          <p:spPr bwMode="auto">
            <a:xfrm>
              <a:off x="8601779" y="3390632"/>
              <a:ext cx="1859519" cy="515603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rgbClr val="CC0000">
                    <a:shade val="30000"/>
                    <a:satMod val="115000"/>
                  </a:srgbClr>
                </a:gs>
                <a:gs pos="50000">
                  <a:srgbClr val="CC0000">
                    <a:shade val="67500"/>
                    <a:satMod val="115000"/>
                  </a:srgbClr>
                </a:gs>
                <a:gs pos="100000">
                  <a:srgbClr val="CC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182" name="Title 1">
              <a:extLst>
                <a:ext uri="{FF2B5EF4-FFF2-40B4-BE49-F238E27FC236}">
                  <a16:creationId xmlns:a16="http://schemas.microsoft.com/office/drawing/2014/main" id="{62ACFA9A-4866-4DF4-9291-0CB86F66662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63156" y="3418685"/>
              <a:ext cx="1619402" cy="430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1100" b="0" kern="0" dirty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New Customer Segmentation</a:t>
              </a:r>
            </a:p>
          </p:txBody>
        </p:sp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721953C4-EB88-4D4B-99AA-9E99AE6CC6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999" t="15641" r="20605" b="18999"/>
            <a:stretch/>
          </p:blipFill>
          <p:spPr>
            <a:xfrm>
              <a:off x="5101041" y="2172683"/>
              <a:ext cx="991560" cy="1073059"/>
            </a:xfrm>
            <a:prstGeom prst="rect">
              <a:avLst/>
            </a:prstGeom>
          </p:spPr>
        </p:pic>
        <p:pic>
          <p:nvPicPr>
            <p:cNvPr id="184" name="Picture 183">
              <a:extLst>
                <a:ext uri="{FF2B5EF4-FFF2-40B4-BE49-F238E27FC236}">
                  <a16:creationId xmlns:a16="http://schemas.microsoft.com/office/drawing/2014/main" id="{240E2DB9-4A31-424B-BD75-C82114A9B5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2033" y="2471736"/>
              <a:ext cx="2048355" cy="718037"/>
            </a:xfrm>
            <a:prstGeom prst="rect">
              <a:avLst/>
            </a:prstGeom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13EFE120-171B-4687-9F33-5AFB85E73C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25314" y="1974722"/>
              <a:ext cx="1534308" cy="1534308"/>
            </a:xfrm>
            <a:prstGeom prst="rect">
              <a:avLst/>
            </a:prstGeom>
          </p:spPr>
        </p:pic>
        <p:sp>
          <p:nvSpPr>
            <p:cNvPr id="186" name="Pentagon 160">
              <a:extLst>
                <a:ext uri="{FF2B5EF4-FFF2-40B4-BE49-F238E27FC236}">
                  <a16:creationId xmlns:a16="http://schemas.microsoft.com/office/drawing/2014/main" id="{0291FC72-DB58-40CF-9235-E05497BF747E}"/>
                </a:ext>
              </a:extLst>
            </p:cNvPr>
            <p:cNvSpPr/>
            <p:nvPr/>
          </p:nvSpPr>
          <p:spPr bwMode="auto">
            <a:xfrm>
              <a:off x="2627781" y="3383784"/>
              <a:ext cx="5868411" cy="517247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rgbClr val="CC0000">
                    <a:shade val="30000"/>
                    <a:satMod val="115000"/>
                  </a:srgbClr>
                </a:gs>
                <a:gs pos="50000">
                  <a:srgbClr val="CC0000">
                    <a:shade val="67500"/>
                    <a:satMod val="115000"/>
                  </a:srgbClr>
                </a:gs>
                <a:gs pos="100000">
                  <a:srgbClr val="CC000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377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187" name="Title 1">
              <a:extLst>
                <a:ext uri="{FF2B5EF4-FFF2-40B4-BE49-F238E27FC236}">
                  <a16:creationId xmlns:a16="http://schemas.microsoft.com/office/drawing/2014/main" id="{9DE6C155-9F47-40CF-8F51-842D31BE74D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72194" y="3437046"/>
              <a:ext cx="5723906" cy="3726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Outsourced: </a:t>
              </a:r>
              <a:r>
                <a:rPr lang="en-US" sz="1100" b="0" kern="0" dirty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H, order taking and delivery to partner distributors (beers)</a:t>
              </a:r>
            </a:p>
            <a:p>
              <a:pPr algn="ctr" defTabSz="914377">
                <a:lnSpc>
                  <a:spcPct val="90000"/>
                </a:lnSpc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ithin CCP: </a:t>
              </a:r>
              <a:r>
                <a:rPr lang="en-US" sz="1100" b="0" kern="0" dirty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Invoicing, Activation and Development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042DEEF-D3AB-4BAA-A17F-EAFB0305B6FD}"/>
              </a:ext>
            </a:extLst>
          </p:cNvPr>
          <p:cNvGrpSpPr/>
          <p:nvPr/>
        </p:nvGrpSpPr>
        <p:grpSpPr>
          <a:xfrm>
            <a:off x="679318" y="1536751"/>
            <a:ext cx="10833364" cy="714052"/>
            <a:chOff x="580726" y="855688"/>
            <a:chExt cx="10833364" cy="714052"/>
          </a:xfrm>
        </p:grpSpPr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CB9B6735-69B7-4FFD-8D58-5118E99BF769}"/>
                </a:ext>
              </a:extLst>
            </p:cNvPr>
            <p:cNvCxnSpPr/>
            <p:nvPr/>
          </p:nvCxnSpPr>
          <p:spPr bwMode="auto">
            <a:xfrm>
              <a:off x="1593571" y="1379240"/>
              <a:ext cx="9820519" cy="0"/>
            </a:xfrm>
            <a:prstGeom prst="line">
              <a:avLst/>
            </a:prstGeom>
            <a:solidFill>
              <a:srgbClr val="CC0000"/>
            </a:solidFill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90" name="Title 21">
              <a:extLst>
                <a:ext uri="{FF2B5EF4-FFF2-40B4-BE49-F238E27FC236}">
                  <a16:creationId xmlns:a16="http://schemas.microsoft.com/office/drawing/2014/main" id="{A8B6AF3B-FCE3-4623-9D0B-83690586605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0726" y="1188740"/>
              <a:ext cx="1100095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defRPr/>
              </a:pPr>
              <a:r>
                <a:rPr lang="en-US" sz="1100" kern="0" dirty="0">
                  <a:solidFill>
                    <a:srgbClr val="FFFFFF"/>
                  </a:solidFill>
                  <a:latin typeface="Unity" panose="020B0505030303020204" pitchFamily="34" charset="0"/>
                  <a:sym typeface="Arial"/>
                </a:rPr>
                <a:t> </a:t>
              </a:r>
              <a:r>
                <a:rPr lang="en-US" sz="1100" kern="0" dirty="0">
                  <a:solidFill>
                    <a:srgbClr val="000000"/>
                  </a:solidFill>
                  <a:latin typeface="Unity" panose="020B0505030303020204" pitchFamily="34" charset="0"/>
                  <a:sym typeface="Arial"/>
                </a:rPr>
                <a:t>HORECA PUSH </a:t>
              </a:r>
              <a:r>
                <a:rPr lang="en-US" sz="1100" kern="0" dirty="0">
                  <a:solidFill>
                    <a:srgbClr val="000000"/>
                  </a:solidFill>
                  <a:latin typeface="Unity" panose="020B0505030303020204" pitchFamily="34" charset="0"/>
                  <a:sym typeface="Wingdings 3" panose="05040102010807070707" pitchFamily="18" charset="2"/>
                </a:rPr>
                <a:t></a:t>
              </a:r>
              <a:endParaRPr lang="en-US" sz="1100" kern="0" dirty="0">
                <a:solidFill>
                  <a:srgbClr val="000000"/>
                </a:solidFill>
                <a:latin typeface="Unity" panose="020B0505030303020204" pitchFamily="34" charset="0"/>
                <a:sym typeface="Arial"/>
              </a:endParaRPr>
            </a:p>
          </p:txBody>
        </p:sp>
        <p:sp>
          <p:nvSpPr>
            <p:cNvPr id="191" name="Title 1">
              <a:extLst>
                <a:ext uri="{FF2B5EF4-FFF2-40B4-BE49-F238E27FC236}">
                  <a16:creationId xmlns:a16="http://schemas.microsoft.com/office/drawing/2014/main" id="{4E73E2C1-8C62-43BA-8A13-E8FAA6D0819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747552" y="855688"/>
              <a:ext cx="42387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8oz.</a:t>
              </a:r>
            </a:p>
          </p:txBody>
        </p:sp>
        <p:sp>
          <p:nvSpPr>
            <p:cNvPr id="192" name="Title 1">
              <a:extLst>
                <a:ext uri="{FF2B5EF4-FFF2-40B4-BE49-F238E27FC236}">
                  <a16:creationId xmlns:a16="http://schemas.microsoft.com/office/drawing/2014/main" id="{AE33E582-76D0-435C-8FB6-363D158EEF9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618404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350ml</a:t>
              </a:r>
            </a:p>
          </p:txBody>
        </p:sp>
        <p:sp>
          <p:nvSpPr>
            <p:cNvPr id="193" name="Title 1">
              <a:extLst>
                <a:ext uri="{FF2B5EF4-FFF2-40B4-BE49-F238E27FC236}">
                  <a16:creationId xmlns:a16="http://schemas.microsoft.com/office/drawing/2014/main" id="{660D7852-C921-410D-B8A4-74BA55ED828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56222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 Bares</a:t>
              </a:r>
            </a:p>
          </p:txBody>
        </p:sp>
        <p:sp>
          <p:nvSpPr>
            <p:cNvPr id="194" name="Title 1">
              <a:extLst>
                <a:ext uri="{FF2B5EF4-FFF2-40B4-BE49-F238E27FC236}">
                  <a16:creationId xmlns:a16="http://schemas.microsoft.com/office/drawing/2014/main" id="{C31D4BA8-AF26-4619-AD49-746C110F7DA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70916" y="867808"/>
              <a:ext cx="464694" cy="4135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Glass 2017</a:t>
              </a:r>
            </a:p>
          </p:txBody>
        </p:sp>
        <p:sp>
          <p:nvSpPr>
            <p:cNvPr id="195" name="Title 1">
              <a:extLst>
                <a:ext uri="{FF2B5EF4-FFF2-40B4-BE49-F238E27FC236}">
                  <a16:creationId xmlns:a16="http://schemas.microsoft.com/office/drawing/2014/main" id="{AB11A2D2-1009-47EB-A015-2967A74DFBD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295550" y="855688"/>
              <a:ext cx="432527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 err="1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egmen</a:t>
              </a:r>
              <a:endParaRPr lang="en-US" sz="900" kern="0" dirty="0">
                <a:solidFill>
                  <a:srgbClr val="CC0000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96" name="Title 1">
              <a:extLst>
                <a:ext uri="{FF2B5EF4-FFF2-40B4-BE49-F238E27FC236}">
                  <a16:creationId xmlns:a16="http://schemas.microsoft.com/office/drawing/2014/main" id="{2C7D9EB9-C950-4D51-A25A-73A1A83D331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32335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GB 300</a:t>
              </a:r>
            </a:p>
          </p:txBody>
        </p:sp>
        <p:sp>
          <p:nvSpPr>
            <p:cNvPr id="197" name="Title 1">
              <a:extLst>
                <a:ext uri="{FF2B5EF4-FFF2-40B4-BE49-F238E27FC236}">
                  <a16:creationId xmlns:a16="http://schemas.microsoft.com/office/drawing/2014/main" id="{036CABC3-85FD-4DAB-8D45-EFA6CA66326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72927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lega</a:t>
              </a: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Ella</a:t>
              </a:r>
            </a:p>
          </p:txBody>
        </p:sp>
        <p:sp>
          <p:nvSpPr>
            <p:cNvPr id="198" name="Title 1">
              <a:extLst>
                <a:ext uri="{FF2B5EF4-FFF2-40B4-BE49-F238E27FC236}">
                  <a16:creationId xmlns:a16="http://schemas.microsoft.com/office/drawing/2014/main" id="{8580D63A-5F1E-4E34-9DCC-EB231CDE7F4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1246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TM</a:t>
              </a:r>
            </a:p>
          </p:txBody>
        </p:sp>
        <p:sp>
          <p:nvSpPr>
            <p:cNvPr id="199" name="Title 1">
              <a:extLst>
                <a:ext uri="{FF2B5EF4-FFF2-40B4-BE49-F238E27FC236}">
                  <a16:creationId xmlns:a16="http://schemas.microsoft.com/office/drawing/2014/main" id="{0541554E-07E3-4436-896E-C2A8BB95F62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0769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reciendo</a:t>
              </a:r>
              <a:endParaRPr lang="en-US" sz="9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200" name="Title 1">
              <a:extLst>
                <a:ext uri="{FF2B5EF4-FFF2-40B4-BE49-F238E27FC236}">
                  <a16:creationId xmlns:a16="http://schemas.microsoft.com/office/drawing/2014/main" id="{84F778A4-90EA-44F8-B1CD-568EA3248E8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03774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R</a:t>
              </a:r>
            </a:p>
          </p:txBody>
        </p:sp>
        <p:sp>
          <p:nvSpPr>
            <p:cNvPr id="201" name="Title 1">
              <a:extLst>
                <a:ext uri="{FF2B5EF4-FFF2-40B4-BE49-F238E27FC236}">
                  <a16:creationId xmlns:a16="http://schemas.microsoft.com/office/drawing/2014/main" id="{273154EE-22AC-4659-8172-A32CA717C75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203693" y="906656"/>
              <a:ext cx="656276" cy="3396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Football</a:t>
              </a:r>
            </a:p>
          </p:txBody>
        </p:sp>
        <p:sp>
          <p:nvSpPr>
            <p:cNvPr id="202" name="Title 1">
              <a:extLst>
                <a:ext uri="{FF2B5EF4-FFF2-40B4-BE49-F238E27FC236}">
                  <a16:creationId xmlns:a16="http://schemas.microsoft.com/office/drawing/2014/main" id="{61E0AF8D-B746-42EF-8FD7-2E201E6B05A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751938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ix</a:t>
              </a:r>
            </a:p>
          </p:txBody>
        </p:sp>
        <p:sp>
          <p:nvSpPr>
            <p:cNvPr id="203" name="Title 1">
              <a:extLst>
                <a:ext uri="{FF2B5EF4-FFF2-40B4-BE49-F238E27FC236}">
                  <a16:creationId xmlns:a16="http://schemas.microsoft.com/office/drawing/2014/main" id="{3E9D6D6E-5A99-4944-BA27-D29FF272A6C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740743" y="855688"/>
              <a:ext cx="673347" cy="4819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creens</a:t>
              </a:r>
            </a:p>
          </p:txBody>
        </p:sp>
        <p:sp>
          <p:nvSpPr>
            <p:cNvPr id="204" name="Title 1">
              <a:extLst>
                <a:ext uri="{FF2B5EF4-FFF2-40B4-BE49-F238E27FC236}">
                  <a16:creationId xmlns:a16="http://schemas.microsoft.com/office/drawing/2014/main" id="{ED3B67CD-41DE-4905-A75A-6C0C03C6759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1124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Euro16</a:t>
              </a:r>
            </a:p>
          </p:txBody>
        </p:sp>
        <p:sp>
          <p:nvSpPr>
            <p:cNvPr id="205" name="Title 1">
              <a:extLst>
                <a:ext uri="{FF2B5EF4-FFF2-40B4-BE49-F238E27FC236}">
                  <a16:creationId xmlns:a16="http://schemas.microsoft.com/office/drawing/2014/main" id="{CCF86040-2731-4DF5-B267-4E7800D1ECD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27565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IMC17</a:t>
              </a:r>
            </a:p>
          </p:txBody>
        </p:sp>
        <p:sp>
          <p:nvSpPr>
            <p:cNvPr id="206" name="Title 1">
              <a:extLst>
                <a:ext uri="{FF2B5EF4-FFF2-40B4-BE49-F238E27FC236}">
                  <a16:creationId xmlns:a16="http://schemas.microsoft.com/office/drawing/2014/main" id="{5D08DF45-EE05-42C8-BEE4-057FF71345E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507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&amp;Roll</a:t>
              </a:r>
              <a:endParaRPr lang="en-US" sz="9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207" name="Title 1">
              <a:extLst>
                <a:ext uri="{FF2B5EF4-FFF2-40B4-BE49-F238E27FC236}">
                  <a16:creationId xmlns:a16="http://schemas.microsoft.com/office/drawing/2014/main" id="{DB2124F2-0970-4C58-B2BA-691C11257A3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8830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DEs</a:t>
              </a:r>
            </a:p>
          </p:txBody>
        </p:sp>
        <p:sp>
          <p:nvSpPr>
            <p:cNvPr id="208" name="Title 1">
              <a:extLst>
                <a:ext uri="{FF2B5EF4-FFF2-40B4-BE49-F238E27FC236}">
                  <a16:creationId xmlns:a16="http://schemas.microsoft.com/office/drawing/2014/main" id="{85AD190E-58CC-42E4-A919-59E1FE752D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730010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eals</a:t>
              </a:r>
            </a:p>
          </p:txBody>
        </p:sp>
        <p:sp>
          <p:nvSpPr>
            <p:cNvPr id="209" name="Title 1">
              <a:extLst>
                <a:ext uri="{FF2B5EF4-FFF2-40B4-BE49-F238E27FC236}">
                  <a16:creationId xmlns:a16="http://schemas.microsoft.com/office/drawing/2014/main" id="{FE529630-B732-40E0-BB48-ED683AF1DB3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60961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  <a:defRPr/>
              </a:pPr>
              <a:r>
                <a:rPr lang="en-US" sz="9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artender</a:t>
              </a:r>
            </a:p>
          </p:txBody>
        </p:sp>
        <p:grpSp>
          <p:nvGrpSpPr>
            <p:cNvPr id="210" name="Group 209">
              <a:extLst>
                <a:ext uri="{FF2B5EF4-FFF2-40B4-BE49-F238E27FC236}">
                  <a16:creationId xmlns:a16="http://schemas.microsoft.com/office/drawing/2014/main" id="{2788FC23-DDFD-418D-8A8B-00E5E0EE08BE}"/>
                </a:ext>
              </a:extLst>
            </p:cNvPr>
            <p:cNvGrpSpPr/>
            <p:nvPr/>
          </p:nvGrpSpPr>
          <p:grpSpPr>
            <a:xfrm>
              <a:off x="1778720" y="1282737"/>
              <a:ext cx="182880" cy="182880"/>
              <a:chOff x="1765877" y="1239020"/>
              <a:chExt cx="182880" cy="18288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CC6C850E-23B5-4863-B408-D4869160997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57B97FC-03AB-4802-8DD7-72FDD345E2AE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13" name="Group 212">
              <a:extLst>
                <a:ext uri="{FF2B5EF4-FFF2-40B4-BE49-F238E27FC236}">
                  <a16:creationId xmlns:a16="http://schemas.microsoft.com/office/drawing/2014/main" id="{F1E239FB-CD03-411A-8E6A-3D0355DD66E8}"/>
                </a:ext>
              </a:extLst>
            </p:cNvPr>
            <p:cNvGrpSpPr/>
            <p:nvPr/>
          </p:nvGrpSpPr>
          <p:grpSpPr>
            <a:xfrm>
              <a:off x="5824144" y="1282737"/>
              <a:ext cx="182880" cy="182880"/>
              <a:chOff x="1765877" y="1239020"/>
              <a:chExt cx="182880" cy="18288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85CB5ED4-1A2A-4B89-B183-6C7D2D1F3C9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67665C9E-997E-4BD0-BAE6-7AB26EA8F261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6AB34F32-B918-43E2-B066-F00885A43291}"/>
                </a:ext>
              </a:extLst>
            </p:cNvPr>
            <p:cNvGrpSpPr/>
            <p:nvPr/>
          </p:nvGrpSpPr>
          <p:grpSpPr>
            <a:xfrm>
              <a:off x="6835500" y="1282737"/>
              <a:ext cx="182880" cy="182880"/>
              <a:chOff x="1765877" y="1239020"/>
              <a:chExt cx="182880" cy="18288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DEF49026-DBEB-4B39-9140-31C33AB35EFA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3D5CFA39-CCDF-4513-ADAC-1C4CE0FD453D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19" name="Group 218">
              <a:extLst>
                <a:ext uri="{FF2B5EF4-FFF2-40B4-BE49-F238E27FC236}">
                  <a16:creationId xmlns:a16="http://schemas.microsoft.com/office/drawing/2014/main" id="{A01B3E25-024B-4CA7-A45C-90C1F844736E}"/>
                </a:ext>
              </a:extLst>
            </p:cNvPr>
            <p:cNvGrpSpPr/>
            <p:nvPr/>
          </p:nvGrpSpPr>
          <p:grpSpPr>
            <a:xfrm>
              <a:off x="7341179" y="1282737"/>
              <a:ext cx="182880" cy="182880"/>
              <a:chOff x="1765877" y="1239020"/>
              <a:chExt cx="182880" cy="182880"/>
            </a:xfrm>
          </p:grpSpPr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CF65FDAD-71FC-419D-9F14-3135BA24433C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C0000"/>
              </a:solidFill>
              <a:ln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9738E469-0DF8-435D-AE3E-41748B58BC5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22" name="Group 221">
              <a:extLst>
                <a:ext uri="{FF2B5EF4-FFF2-40B4-BE49-F238E27FC236}">
                  <a16:creationId xmlns:a16="http://schemas.microsoft.com/office/drawing/2014/main" id="{791981C6-DB6D-4BD4-966A-635E432DFFE5}"/>
                </a:ext>
              </a:extLst>
            </p:cNvPr>
            <p:cNvGrpSpPr/>
            <p:nvPr/>
          </p:nvGrpSpPr>
          <p:grpSpPr>
            <a:xfrm>
              <a:off x="8352535" y="1282737"/>
              <a:ext cx="182880" cy="182880"/>
              <a:chOff x="1765877" y="1239020"/>
              <a:chExt cx="182880" cy="18288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70237A30-FF4A-41EF-A31B-1B29BE7EB2A6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24" name="Oval 223">
                <a:extLst>
                  <a:ext uri="{FF2B5EF4-FFF2-40B4-BE49-F238E27FC236}">
                    <a16:creationId xmlns:a16="http://schemas.microsoft.com/office/drawing/2014/main" id="{274AB7CF-7C5C-4D70-90D9-BB6D190C4610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FB3E910D-8A5C-4B1B-B098-A5C515282B91}"/>
                </a:ext>
              </a:extLst>
            </p:cNvPr>
            <p:cNvGrpSpPr/>
            <p:nvPr/>
          </p:nvGrpSpPr>
          <p:grpSpPr>
            <a:xfrm>
              <a:off x="9363891" y="1282737"/>
              <a:ext cx="182880" cy="182880"/>
              <a:chOff x="1765877" y="1239020"/>
              <a:chExt cx="182880" cy="182880"/>
            </a:xfrm>
          </p:grpSpPr>
          <p:sp>
            <p:nvSpPr>
              <p:cNvPr id="226" name="Oval 225">
                <a:extLst>
                  <a:ext uri="{FF2B5EF4-FFF2-40B4-BE49-F238E27FC236}">
                    <a16:creationId xmlns:a16="http://schemas.microsoft.com/office/drawing/2014/main" id="{AD2AB53F-DA8D-455B-A019-655C1916CA02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27" name="Oval 226">
                <a:extLst>
                  <a:ext uri="{FF2B5EF4-FFF2-40B4-BE49-F238E27FC236}">
                    <a16:creationId xmlns:a16="http://schemas.microsoft.com/office/drawing/2014/main" id="{99089818-B731-447B-B428-716707340AE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28" name="Group 227">
              <a:extLst>
                <a:ext uri="{FF2B5EF4-FFF2-40B4-BE49-F238E27FC236}">
                  <a16:creationId xmlns:a16="http://schemas.microsoft.com/office/drawing/2014/main" id="{C58B774B-D7F3-4052-BEFE-B6479959391F}"/>
                </a:ext>
              </a:extLst>
            </p:cNvPr>
            <p:cNvGrpSpPr/>
            <p:nvPr/>
          </p:nvGrpSpPr>
          <p:grpSpPr>
            <a:xfrm>
              <a:off x="7846856" y="1282737"/>
              <a:ext cx="182880" cy="182880"/>
              <a:chOff x="1765877" y="1239020"/>
              <a:chExt cx="182880" cy="182880"/>
            </a:xfrm>
          </p:grpSpPr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D71451FF-E6C1-475C-80A6-544B3511B146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30" name="Oval 229">
                <a:extLst>
                  <a:ext uri="{FF2B5EF4-FFF2-40B4-BE49-F238E27FC236}">
                    <a16:creationId xmlns:a16="http://schemas.microsoft.com/office/drawing/2014/main" id="{C4E8133B-D751-447D-975F-749EE4040F68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31" name="Group 230">
              <a:extLst>
                <a:ext uri="{FF2B5EF4-FFF2-40B4-BE49-F238E27FC236}">
                  <a16:creationId xmlns:a16="http://schemas.microsoft.com/office/drawing/2014/main" id="{7C41C6DD-D447-4B15-B2AB-6CC11F977B8A}"/>
                </a:ext>
              </a:extLst>
            </p:cNvPr>
            <p:cNvGrpSpPr/>
            <p:nvPr/>
          </p:nvGrpSpPr>
          <p:grpSpPr>
            <a:xfrm>
              <a:off x="8858212" y="1282737"/>
              <a:ext cx="182880" cy="182880"/>
              <a:chOff x="1765877" y="1239020"/>
              <a:chExt cx="182880" cy="182880"/>
            </a:xfrm>
          </p:grpSpPr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332FD2F6-A8E1-4CC2-9602-882D4FFA4FCF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6B0955D7-E515-4234-91F6-BBE35B5E3575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34" name="Group 233">
              <a:extLst>
                <a:ext uri="{FF2B5EF4-FFF2-40B4-BE49-F238E27FC236}">
                  <a16:creationId xmlns:a16="http://schemas.microsoft.com/office/drawing/2014/main" id="{620FC575-ADC6-4706-B883-4CA005364171}"/>
                </a:ext>
              </a:extLst>
            </p:cNvPr>
            <p:cNvGrpSpPr/>
            <p:nvPr/>
          </p:nvGrpSpPr>
          <p:grpSpPr>
            <a:xfrm>
              <a:off x="9869568" y="1282737"/>
              <a:ext cx="182880" cy="182880"/>
              <a:chOff x="1765877" y="1239020"/>
              <a:chExt cx="182880" cy="182880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69D68D9C-5DF2-425A-ADF0-8A2014EAA18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36" name="Oval 235">
                <a:extLst>
                  <a:ext uri="{FF2B5EF4-FFF2-40B4-BE49-F238E27FC236}">
                    <a16:creationId xmlns:a16="http://schemas.microsoft.com/office/drawing/2014/main" id="{84FF9DEE-C101-4519-9E91-31C66F0B1EC0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949E3235-E465-4FFC-98E3-54CD43204AF1}"/>
                </a:ext>
              </a:extLst>
            </p:cNvPr>
            <p:cNvGrpSpPr/>
            <p:nvPr/>
          </p:nvGrpSpPr>
          <p:grpSpPr>
            <a:xfrm>
              <a:off x="10375247" y="1282737"/>
              <a:ext cx="182880" cy="182880"/>
              <a:chOff x="1765877" y="1239020"/>
              <a:chExt cx="182880" cy="182880"/>
            </a:xfrm>
          </p:grpSpPr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CF2F7FC7-7339-4FC6-A577-79088889D073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39" name="Oval 238">
                <a:extLst>
                  <a:ext uri="{FF2B5EF4-FFF2-40B4-BE49-F238E27FC236}">
                    <a16:creationId xmlns:a16="http://schemas.microsoft.com/office/drawing/2014/main" id="{AE56A533-27CF-433D-A5DF-2954C9FC376E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40" name="Group 239">
              <a:extLst>
                <a:ext uri="{FF2B5EF4-FFF2-40B4-BE49-F238E27FC236}">
                  <a16:creationId xmlns:a16="http://schemas.microsoft.com/office/drawing/2014/main" id="{331742F2-3228-400F-B294-A17BF14821D1}"/>
                </a:ext>
              </a:extLst>
            </p:cNvPr>
            <p:cNvGrpSpPr/>
            <p:nvPr/>
          </p:nvGrpSpPr>
          <p:grpSpPr>
            <a:xfrm>
              <a:off x="10880919" y="1282737"/>
              <a:ext cx="182880" cy="182880"/>
              <a:chOff x="1765877" y="1239020"/>
              <a:chExt cx="182880" cy="182880"/>
            </a:xfrm>
          </p:grpSpPr>
          <p:sp>
            <p:nvSpPr>
              <p:cNvPr id="241" name="Oval 240">
                <a:extLst>
                  <a:ext uri="{FF2B5EF4-FFF2-40B4-BE49-F238E27FC236}">
                    <a16:creationId xmlns:a16="http://schemas.microsoft.com/office/drawing/2014/main" id="{E554314A-B91B-4B9B-9F38-CC3ED2D11F02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090AC723-D6D4-42D0-AD86-CC2C87D2DCAD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474A38D5-DCED-432A-8D0B-FE9D781446F8}"/>
                </a:ext>
              </a:extLst>
            </p:cNvPr>
            <p:cNvGrpSpPr/>
            <p:nvPr/>
          </p:nvGrpSpPr>
          <p:grpSpPr>
            <a:xfrm>
              <a:off x="2790076" y="1282737"/>
              <a:ext cx="182880" cy="182880"/>
              <a:chOff x="1765877" y="1239020"/>
              <a:chExt cx="182880" cy="182880"/>
            </a:xfrm>
          </p:grpSpPr>
          <p:sp>
            <p:nvSpPr>
              <p:cNvPr id="244" name="Oval 243">
                <a:extLst>
                  <a:ext uri="{FF2B5EF4-FFF2-40B4-BE49-F238E27FC236}">
                    <a16:creationId xmlns:a16="http://schemas.microsoft.com/office/drawing/2014/main" id="{5CE96103-4A01-4B79-A476-DEB2F34B65A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45" name="Oval 244">
                <a:extLst>
                  <a:ext uri="{FF2B5EF4-FFF2-40B4-BE49-F238E27FC236}">
                    <a16:creationId xmlns:a16="http://schemas.microsoft.com/office/drawing/2014/main" id="{B1BE7E9A-EC32-45B3-AE86-DCF2C4F6B7C1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62FCC3BF-0583-4BC1-802F-10AC0578D8EE}"/>
                </a:ext>
              </a:extLst>
            </p:cNvPr>
            <p:cNvGrpSpPr/>
            <p:nvPr/>
          </p:nvGrpSpPr>
          <p:grpSpPr>
            <a:xfrm>
              <a:off x="2284399" y="1282737"/>
              <a:ext cx="182880" cy="182880"/>
              <a:chOff x="1765877" y="1239020"/>
              <a:chExt cx="182880" cy="182880"/>
            </a:xfrm>
          </p:grpSpPr>
          <p:sp>
            <p:nvSpPr>
              <p:cNvPr id="247" name="Oval 246">
                <a:extLst>
                  <a:ext uri="{FF2B5EF4-FFF2-40B4-BE49-F238E27FC236}">
                    <a16:creationId xmlns:a16="http://schemas.microsoft.com/office/drawing/2014/main" id="{DDB0F833-0BAA-4710-83F0-C48BEF1268AD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BCDA6D33-FD71-4203-9F02-5AD39D559BDD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0D0F0216-AEB0-4476-9E5C-8E18B333D122}"/>
                </a:ext>
              </a:extLst>
            </p:cNvPr>
            <p:cNvGrpSpPr/>
            <p:nvPr/>
          </p:nvGrpSpPr>
          <p:grpSpPr>
            <a:xfrm>
              <a:off x="3295755" y="1282737"/>
              <a:ext cx="182880" cy="182880"/>
              <a:chOff x="1765877" y="1239020"/>
              <a:chExt cx="182880" cy="182880"/>
            </a:xfrm>
          </p:grpSpPr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D0D4DEB9-6331-4304-940D-A4A88EEC2F8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0C3149E7-EA92-4437-8ED4-0B8572C0995C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A0E8643B-0BA2-429D-865C-A95E4AA3E3C2}"/>
                </a:ext>
              </a:extLst>
            </p:cNvPr>
            <p:cNvGrpSpPr/>
            <p:nvPr/>
          </p:nvGrpSpPr>
          <p:grpSpPr>
            <a:xfrm>
              <a:off x="4307111" y="1282737"/>
              <a:ext cx="182880" cy="182880"/>
              <a:chOff x="1765877" y="1239020"/>
              <a:chExt cx="182880" cy="182880"/>
            </a:xfrm>
          </p:grpSpPr>
          <p:sp>
            <p:nvSpPr>
              <p:cNvPr id="253" name="Oval 252">
                <a:extLst>
                  <a:ext uri="{FF2B5EF4-FFF2-40B4-BE49-F238E27FC236}">
                    <a16:creationId xmlns:a16="http://schemas.microsoft.com/office/drawing/2014/main" id="{0FECCB41-0D73-44BF-8005-D5A694EC79D4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7B1FA7B9-DB7C-4543-8042-7623A97ADC88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B6AEE1E5-3B3C-4332-82E1-705E3EA17A65}"/>
                </a:ext>
              </a:extLst>
            </p:cNvPr>
            <p:cNvGrpSpPr/>
            <p:nvPr/>
          </p:nvGrpSpPr>
          <p:grpSpPr>
            <a:xfrm>
              <a:off x="3801432" y="1282737"/>
              <a:ext cx="182880" cy="182880"/>
              <a:chOff x="1765877" y="1239020"/>
              <a:chExt cx="182880" cy="182880"/>
            </a:xfrm>
          </p:grpSpPr>
          <p:sp>
            <p:nvSpPr>
              <p:cNvPr id="256" name="Oval 255">
                <a:extLst>
                  <a:ext uri="{FF2B5EF4-FFF2-40B4-BE49-F238E27FC236}">
                    <a16:creationId xmlns:a16="http://schemas.microsoft.com/office/drawing/2014/main" id="{5A14E1CA-C3BF-4D23-861D-985A369EC12C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4007DB1-0ADB-4548-BA97-726287E7937C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58" name="Group 257">
              <a:extLst>
                <a:ext uri="{FF2B5EF4-FFF2-40B4-BE49-F238E27FC236}">
                  <a16:creationId xmlns:a16="http://schemas.microsoft.com/office/drawing/2014/main" id="{02808D0F-3673-4F2D-B9D0-ADAAFA233805}"/>
                </a:ext>
              </a:extLst>
            </p:cNvPr>
            <p:cNvGrpSpPr/>
            <p:nvPr/>
          </p:nvGrpSpPr>
          <p:grpSpPr>
            <a:xfrm>
              <a:off x="4812788" y="1282737"/>
              <a:ext cx="182880" cy="182880"/>
              <a:chOff x="1765877" y="1239020"/>
              <a:chExt cx="182880" cy="182880"/>
            </a:xfrm>
          </p:grpSpPr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964D4C84-1A81-48BD-A933-EACBFFDAB012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C0000"/>
              </a:solidFill>
              <a:ln w="9525" cap="flat" cmpd="sng" algn="ctr">
                <a:solidFill>
                  <a:srgbClr val="CC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E7648A99-4EC3-446B-8E2F-83FAE5B2DA25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F0A23536-6545-4690-A1CF-CA847C1FF1D8}"/>
                </a:ext>
              </a:extLst>
            </p:cNvPr>
            <p:cNvGrpSpPr/>
            <p:nvPr/>
          </p:nvGrpSpPr>
          <p:grpSpPr>
            <a:xfrm>
              <a:off x="5318467" y="1282737"/>
              <a:ext cx="182880" cy="182880"/>
              <a:chOff x="1765877" y="1239020"/>
              <a:chExt cx="182880" cy="182880"/>
            </a:xfrm>
          </p:grpSpPr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360B87F6-B126-4481-A04C-10A55A1E55D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63" name="Oval 262">
                <a:extLst>
                  <a:ext uri="{FF2B5EF4-FFF2-40B4-BE49-F238E27FC236}">
                    <a16:creationId xmlns:a16="http://schemas.microsoft.com/office/drawing/2014/main" id="{612E99E3-5DF6-4AFF-8031-560E8BDA7D5A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F1C7811C-3EA5-47ED-9E3B-AAB3F16F3FAB}"/>
                </a:ext>
              </a:extLst>
            </p:cNvPr>
            <p:cNvGrpSpPr/>
            <p:nvPr/>
          </p:nvGrpSpPr>
          <p:grpSpPr>
            <a:xfrm>
              <a:off x="6329823" y="1282737"/>
              <a:ext cx="182880" cy="182880"/>
              <a:chOff x="1765877" y="1239020"/>
              <a:chExt cx="182880" cy="182880"/>
            </a:xfrm>
          </p:grpSpPr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F5EE3300-5723-4180-A9A0-88964D70DDD5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000000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66" name="Oval 265">
                <a:extLst>
                  <a:ext uri="{FF2B5EF4-FFF2-40B4-BE49-F238E27FC236}">
                    <a16:creationId xmlns:a16="http://schemas.microsoft.com/office/drawing/2014/main" id="{733C303A-AAEB-4742-8012-855DE3A60012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77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</p:grpSp>
      <p:pic>
        <p:nvPicPr>
          <p:cNvPr id="267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E66D778F-50CC-4B62-A66F-9D04790FD7C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35179"/>
          <a:stretch/>
        </p:blipFill>
        <p:spPr>
          <a:xfrm>
            <a:off x="972207" y="4541889"/>
            <a:ext cx="1937893" cy="1949753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548CCF3-ABF0-4E36-89B4-7BF07FCA9F73}"/>
              </a:ext>
            </a:extLst>
          </p:cNvPr>
          <p:cNvSpPr txBox="1"/>
          <p:nvPr/>
        </p:nvSpPr>
        <p:spPr>
          <a:xfrm>
            <a:off x="980739" y="5343483"/>
            <a:ext cx="1372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Unity" panose="020B0505030303020204" pitchFamily="34" charset="0"/>
              </a:rPr>
              <a:t>OUTCOME</a:t>
            </a:r>
            <a:endParaRPr lang="en-US" sz="1600" b="1" dirty="0">
              <a:solidFill>
                <a:schemeClr val="bg1"/>
              </a:solidFill>
              <a:latin typeface="Unity" panose="020B0505030303020204" pitchFamily="34" charset="0"/>
            </a:endParaRPr>
          </a:p>
        </p:txBody>
      </p:sp>
      <p:pic>
        <p:nvPicPr>
          <p:cNvPr id="268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B5E7F569-2F1E-4E63-A138-C672A854E63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r="35179"/>
          <a:stretch/>
        </p:blipFill>
        <p:spPr>
          <a:xfrm>
            <a:off x="972207" y="2271095"/>
            <a:ext cx="1937893" cy="2008212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269" name="TextBox 268">
            <a:extLst>
              <a:ext uri="{FF2B5EF4-FFF2-40B4-BE49-F238E27FC236}">
                <a16:creationId xmlns:a16="http://schemas.microsoft.com/office/drawing/2014/main" id="{1C541065-E33B-4BD7-BD59-CB8165BA6EDF}"/>
              </a:ext>
            </a:extLst>
          </p:cNvPr>
          <p:cNvSpPr txBox="1"/>
          <p:nvPr/>
        </p:nvSpPr>
        <p:spPr>
          <a:xfrm>
            <a:off x="980739" y="2890236"/>
            <a:ext cx="1372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Unity" panose="020B0505030303020204" pitchFamily="34" charset="0"/>
              </a:rPr>
              <a:t>VALUE DRIVEN RTM</a:t>
            </a:r>
            <a:endParaRPr lang="en-US" sz="1600" b="1" dirty="0">
              <a:solidFill>
                <a:schemeClr val="bg1"/>
              </a:solidFill>
              <a:latin typeface="Unity" panose="020B0505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08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B8F4971-8004-4581-83A4-33C1D9273C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958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B8F4971-8004-4581-83A4-33C1D9273C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solidFill>
                  <a:srgbClr val="000000"/>
                </a:solidFill>
                <a:latin typeface="Unity" panose="020B0505030303020204" pitchFamily="34" charset="0"/>
                <a:sym typeface="Arial"/>
              </a:rPr>
              <a:t>…with a picture of success has been defined for every trade segment</a:t>
            </a:r>
          </a:p>
        </p:txBody>
      </p:sp>
      <p:sp>
        <p:nvSpPr>
          <p:cNvPr id="118" name="Rectangle 7">
            <a:extLst>
              <a:ext uri="{FF2B5EF4-FFF2-40B4-BE49-F238E27FC236}">
                <a16:creationId xmlns:a16="http://schemas.microsoft.com/office/drawing/2014/main" id="{DE4A67F6-41DD-4864-BBB0-4B24DACDC31A}"/>
              </a:ext>
            </a:extLst>
          </p:cNvPr>
          <p:cNvSpPr/>
          <p:nvPr/>
        </p:nvSpPr>
        <p:spPr>
          <a:xfrm>
            <a:off x="694481" y="2789398"/>
            <a:ext cx="9660523" cy="3842792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solidFill>
                <a:prstClr val="white"/>
              </a:solidFill>
              <a:latin typeface="Calibri"/>
              <a:ea typeface="ＭＳ Ｐゴシック" charset="0"/>
              <a:cs typeface="Arial"/>
              <a:sym typeface="Arial"/>
            </a:endParaRPr>
          </a:p>
        </p:txBody>
      </p:sp>
      <p:pic>
        <p:nvPicPr>
          <p:cNvPr id="119" name="Picture 2">
            <a:extLst>
              <a:ext uri="{FF2B5EF4-FFF2-40B4-BE49-F238E27FC236}">
                <a16:creationId xmlns:a16="http://schemas.microsoft.com/office/drawing/2014/main" id="{2FA61A6B-69B0-41EF-8A0D-5D1BCF077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1791" y="3040780"/>
            <a:ext cx="6229628" cy="3441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0" name="Straight Arrow Connector 15">
            <a:extLst>
              <a:ext uri="{FF2B5EF4-FFF2-40B4-BE49-F238E27FC236}">
                <a16:creationId xmlns:a16="http://schemas.microsoft.com/office/drawing/2014/main" id="{851C4773-0E3B-4EFA-AA10-7D8C56CE5282}"/>
              </a:ext>
            </a:extLst>
          </p:cNvPr>
          <p:cNvCxnSpPr/>
          <p:nvPr/>
        </p:nvCxnSpPr>
        <p:spPr>
          <a:xfrm>
            <a:off x="2823925" y="4834494"/>
            <a:ext cx="1149760" cy="0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headEnd type="none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1" name="Table 9">
            <a:extLst>
              <a:ext uri="{FF2B5EF4-FFF2-40B4-BE49-F238E27FC236}">
                <a16:creationId xmlns:a16="http://schemas.microsoft.com/office/drawing/2014/main" id="{868B3511-566C-4AE4-8320-9208CADD20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3112141"/>
              </p:ext>
            </p:extLst>
          </p:nvPr>
        </p:nvGraphicFramePr>
        <p:xfrm>
          <a:off x="893172" y="2829590"/>
          <a:ext cx="2134899" cy="934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4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  <a:latin typeface="Unity" panose="020B0505030303020204" pitchFamily="34" charset="0"/>
                        </a:rPr>
                        <a:t>PRIORITY PORTFOLIO</a:t>
                      </a: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Top SKUS</a:t>
                      </a:r>
                    </a:p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Secondary SKUs</a:t>
                      </a: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22" name="Table 9">
            <a:extLst>
              <a:ext uri="{FF2B5EF4-FFF2-40B4-BE49-F238E27FC236}">
                <a16:creationId xmlns:a16="http://schemas.microsoft.com/office/drawing/2014/main" id="{8D1E9A99-4705-4998-8F30-82D68D5BB3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9971550"/>
              </p:ext>
            </p:extLst>
          </p:nvPr>
        </p:nvGraphicFramePr>
        <p:xfrm>
          <a:off x="893172" y="4280540"/>
          <a:ext cx="2134899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4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384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solidFill>
                            <a:schemeClr val="tx1"/>
                          </a:solidFill>
                          <a:latin typeface="Unity" panose="020B0505030303020204" pitchFamily="34" charset="0"/>
                        </a:rPr>
                        <a:t>EXHIBITIONS</a:t>
                      </a: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040">
                <a:tc>
                  <a:txBody>
                    <a:bodyPr/>
                    <a:lstStyle/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Displays</a:t>
                      </a:r>
                    </a:p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POP Materials</a:t>
                      </a: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123" name="Straight Arrow Connector 15">
            <a:extLst>
              <a:ext uri="{FF2B5EF4-FFF2-40B4-BE49-F238E27FC236}">
                <a16:creationId xmlns:a16="http://schemas.microsoft.com/office/drawing/2014/main" id="{67FB3F92-ACD5-44AD-ABC0-21394881FE76}"/>
              </a:ext>
            </a:extLst>
          </p:cNvPr>
          <p:cNvCxnSpPr/>
          <p:nvPr/>
        </p:nvCxnSpPr>
        <p:spPr>
          <a:xfrm>
            <a:off x="2823926" y="3531720"/>
            <a:ext cx="1105311" cy="0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headEnd type="none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Arrow Connector 15">
            <a:extLst>
              <a:ext uri="{FF2B5EF4-FFF2-40B4-BE49-F238E27FC236}">
                <a16:creationId xmlns:a16="http://schemas.microsoft.com/office/drawing/2014/main" id="{9A93A10C-DEA0-49C5-95EB-96BB24A7335D}"/>
              </a:ext>
            </a:extLst>
          </p:cNvPr>
          <p:cNvCxnSpPr/>
          <p:nvPr/>
        </p:nvCxnSpPr>
        <p:spPr>
          <a:xfrm>
            <a:off x="2823925" y="5905806"/>
            <a:ext cx="1149760" cy="0"/>
          </a:xfrm>
          <a:prstGeom prst="straightConnector1">
            <a:avLst/>
          </a:prstGeom>
          <a:ln>
            <a:solidFill>
              <a:schemeClr val="tx2">
                <a:lumMod val="50000"/>
              </a:schemeClr>
            </a:solidFill>
            <a:headEnd type="none" w="med" len="med"/>
            <a:tailEnd type="oval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5" name="Picture 2" descr="C:\Users\vdominguez\Desktop\Documentos\Escritorio\Maquetas de SKu`s\EEFF\MiniCube.png">
            <a:extLst>
              <a:ext uri="{FF2B5EF4-FFF2-40B4-BE49-F238E27FC236}">
                <a16:creationId xmlns:a16="http://schemas.microsoft.com/office/drawing/2014/main" id="{1F777795-BCA6-450E-A7B2-E0957EE928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19694" y="5638059"/>
            <a:ext cx="905207" cy="854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2" descr="C:\Users\vdominguez\Downloads\icool-500-lateral (1).png">
            <a:extLst>
              <a:ext uri="{FF2B5EF4-FFF2-40B4-BE49-F238E27FC236}">
                <a16:creationId xmlns:a16="http://schemas.microsoft.com/office/drawing/2014/main" id="{2950E50E-5338-4C92-B5C9-D2A554C877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3882" y="4798830"/>
            <a:ext cx="769611" cy="1784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4 Rectángulo">
            <a:extLst>
              <a:ext uri="{FF2B5EF4-FFF2-40B4-BE49-F238E27FC236}">
                <a16:creationId xmlns:a16="http://schemas.microsoft.com/office/drawing/2014/main" id="{1C930D6C-78FB-4E25-84E4-490554069A81}"/>
              </a:ext>
            </a:extLst>
          </p:cNvPr>
          <p:cNvSpPr/>
          <p:nvPr/>
        </p:nvSpPr>
        <p:spPr>
          <a:xfrm>
            <a:off x="7391021" y="3040778"/>
            <a:ext cx="1497565" cy="417423"/>
          </a:xfrm>
          <a:prstGeom prst="rect">
            <a:avLst/>
          </a:prstGeom>
          <a:solidFill>
            <a:srgbClr val="92D050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prstClr val="white"/>
              </a:solidFill>
              <a:latin typeface="Calibri"/>
              <a:sym typeface="Arial"/>
            </a:endParaRPr>
          </a:p>
        </p:txBody>
      </p:sp>
      <p:pic>
        <p:nvPicPr>
          <p:cNvPr id="128" name="Picture 3">
            <a:extLst>
              <a:ext uri="{FF2B5EF4-FFF2-40B4-BE49-F238E27FC236}">
                <a16:creationId xmlns:a16="http://schemas.microsoft.com/office/drawing/2014/main" id="{72978CE6-C8B8-45FD-8AAC-F893F93A1C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8596" y="1377493"/>
            <a:ext cx="6172106" cy="1505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9" name="40 Rectángulo">
            <a:extLst>
              <a:ext uri="{FF2B5EF4-FFF2-40B4-BE49-F238E27FC236}">
                <a16:creationId xmlns:a16="http://schemas.microsoft.com/office/drawing/2014/main" id="{A5F6FA58-B304-4D49-9825-FEF1C52A06B4}"/>
              </a:ext>
            </a:extLst>
          </p:cNvPr>
          <p:cNvSpPr/>
          <p:nvPr/>
        </p:nvSpPr>
        <p:spPr>
          <a:xfrm>
            <a:off x="5116313" y="2749814"/>
            <a:ext cx="4752000" cy="307775"/>
          </a:xfrm>
          <a:prstGeom prst="rect">
            <a:avLst/>
          </a:prstGeom>
          <a:solidFill>
            <a:srgbClr val="C00000"/>
          </a:solidFill>
          <a:ln w="6350" cap="flat">
            <a:solidFill>
              <a:srgbClr val="616C6E">
                <a:lumMod val="20000"/>
                <a:lumOff val="80000"/>
              </a:srgbClr>
            </a:solidFill>
            <a:prstDash val="sysDot"/>
            <a:bevel/>
          </a:ln>
          <a:effectLst/>
        </p:spPr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algn="ctr" defTabSz="914377" latinLnBrk="1" hangingPunct="0">
              <a:defRPr/>
            </a:pPr>
            <a:r>
              <a:rPr lang="en-US" sz="1400" b="1" kern="0" dirty="0" err="1">
                <a:solidFill>
                  <a:srgbClr val="EEECE1"/>
                </a:solidFill>
                <a:latin typeface="Unity" panose="020B0505030303020204" pitchFamily="34" charset="0"/>
                <a:cs typeface="Arial"/>
                <a:sym typeface="Arial"/>
              </a:rPr>
              <a:t>PiCoS</a:t>
            </a:r>
            <a:endParaRPr lang="en-US" sz="1400" b="1" kern="0" dirty="0">
              <a:solidFill>
                <a:srgbClr val="EEECE1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graphicFrame>
        <p:nvGraphicFramePr>
          <p:cNvPr id="130" name="Table 9">
            <a:extLst>
              <a:ext uri="{FF2B5EF4-FFF2-40B4-BE49-F238E27FC236}">
                <a16:creationId xmlns:a16="http://schemas.microsoft.com/office/drawing/2014/main" id="{70890E90-6718-40DC-9F1C-D782ED9623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024085"/>
              </p:ext>
            </p:extLst>
          </p:nvPr>
        </p:nvGraphicFramePr>
        <p:xfrm>
          <a:off x="893172" y="5350115"/>
          <a:ext cx="2134899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48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7680">
                <a:tc>
                  <a:txBody>
                    <a:bodyPr/>
                    <a:lstStyle/>
                    <a:p>
                      <a:pPr algn="l"/>
                      <a:r>
                        <a:rPr lang="en-US" sz="1600">
                          <a:solidFill>
                            <a:schemeClr val="tx1"/>
                          </a:solidFill>
                          <a:latin typeface="Unity" panose="020B0505030303020204" pitchFamily="34" charset="0"/>
                        </a:rPr>
                        <a:t>COLD DRINK</a:t>
                      </a:r>
                      <a:r>
                        <a:rPr lang="en-US" sz="1600" baseline="0">
                          <a:solidFill>
                            <a:schemeClr val="tx1"/>
                          </a:solidFill>
                          <a:latin typeface="Unity" panose="020B0505030303020204" pitchFamily="34" charset="0"/>
                        </a:rPr>
                        <a:t> EQUIPMENTS</a:t>
                      </a:r>
                      <a:endParaRPr lang="en-US" sz="1600">
                        <a:solidFill>
                          <a:schemeClr val="tx1"/>
                        </a:solidFill>
                        <a:latin typeface="Unity" panose="020B0505030303020204" pitchFamily="34" charset="0"/>
                      </a:endParaRP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4080">
                <a:tc>
                  <a:txBody>
                    <a:bodyPr/>
                    <a:lstStyle/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8 variables tracked</a:t>
                      </a:r>
                      <a:r>
                        <a:rPr lang="en-US" sz="1500" kern="1200" baseline="0">
                          <a:solidFill>
                            <a:schemeClr val="tx1"/>
                          </a:solidFill>
                          <a:latin typeface="Unity" panose="020B0505030303020204" pitchFamily="34" charset="0"/>
                          <a:ea typeface="+mn-ea"/>
                          <a:cs typeface="+mn-cs"/>
                        </a:rPr>
                        <a:t> related with its status</a:t>
                      </a:r>
                      <a:endParaRPr lang="en-US" sz="1500" kern="1200">
                        <a:solidFill>
                          <a:schemeClr val="tx1"/>
                        </a:solidFill>
                        <a:latin typeface="Unity" panose="020B0505030303020204" pitchFamily="34" charset="0"/>
                        <a:ea typeface="+mn-ea"/>
                        <a:cs typeface="+mn-cs"/>
                      </a:endParaRPr>
                    </a:p>
                    <a:p>
                      <a:pPr marL="114300" indent="-114300" algn="l">
                        <a:buFont typeface="Arial" panose="020B0604020202020204" pitchFamily="34" charset="0"/>
                        <a:buChar char="•"/>
                      </a:pPr>
                      <a:endParaRPr lang="en-US" sz="1500" kern="1200">
                        <a:solidFill>
                          <a:schemeClr val="tx1"/>
                        </a:solidFill>
                        <a:latin typeface="Unity" panose="020B0505030303020204" pitchFamily="34" charset="0"/>
                        <a:ea typeface="+mn-ea"/>
                        <a:cs typeface="+mn-cs"/>
                      </a:endParaRPr>
                    </a:p>
                  </a:txBody>
                  <a:tcPr marL="45720" marR="45720" marT="0" marB="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109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F1E03C-19A7-4599-88CE-0916835DFC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06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F1E03C-19A7-4599-88CE-0916835DF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00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…with Integrated Marketing Campaigns to support RGB and HORECA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F1B08B0-6305-44CA-8B86-0AFAE1A1C8A7}"/>
              </a:ext>
            </a:extLst>
          </p:cNvPr>
          <p:cNvGrpSpPr/>
          <p:nvPr/>
        </p:nvGrpSpPr>
        <p:grpSpPr>
          <a:xfrm>
            <a:off x="469939" y="1553159"/>
            <a:ext cx="11252121" cy="714052"/>
            <a:chOff x="580726" y="855688"/>
            <a:chExt cx="10833364" cy="714052"/>
          </a:xfrm>
        </p:grpSpPr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BF35741B-73F7-456A-99AB-294C6D1F7F0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747552" y="855688"/>
              <a:ext cx="42387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8oz.</a:t>
              </a:r>
            </a:p>
          </p:txBody>
        </p:sp>
        <p:sp>
          <p:nvSpPr>
            <p:cNvPr id="9" name="Title 1">
              <a:extLst>
                <a:ext uri="{FF2B5EF4-FFF2-40B4-BE49-F238E27FC236}">
                  <a16:creationId xmlns:a16="http://schemas.microsoft.com/office/drawing/2014/main" id="{8C843F38-231E-4F9C-97F8-3B35E94DF2B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618404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350ml</a:t>
              </a:r>
            </a:p>
          </p:txBody>
        </p:sp>
        <p:sp>
          <p:nvSpPr>
            <p:cNvPr id="10" name="Title 1">
              <a:extLst>
                <a:ext uri="{FF2B5EF4-FFF2-40B4-BE49-F238E27FC236}">
                  <a16:creationId xmlns:a16="http://schemas.microsoft.com/office/drawing/2014/main" id="{9249236A-8A07-4469-9532-5E9CC4AE17E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56222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 Bares</a:t>
              </a:r>
            </a:p>
          </p:txBody>
        </p:sp>
        <p:sp>
          <p:nvSpPr>
            <p:cNvPr id="11" name="Title 1">
              <a:extLst>
                <a:ext uri="{FF2B5EF4-FFF2-40B4-BE49-F238E27FC236}">
                  <a16:creationId xmlns:a16="http://schemas.microsoft.com/office/drawing/2014/main" id="{496ADCD8-05C4-4FC5-A3F3-B237BC22F1D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45873" y="855688"/>
              <a:ext cx="451040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Glass 2017</a:t>
              </a:r>
            </a:p>
          </p:txBody>
        </p:sp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869DA888-AA7E-4D6D-84D7-EEE8FA6A968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220998" y="855689"/>
              <a:ext cx="498426" cy="4270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egment</a:t>
              </a:r>
            </a:p>
          </p:txBody>
        </p:sp>
        <p:sp>
          <p:nvSpPr>
            <p:cNvPr id="13" name="Title 1">
              <a:extLst>
                <a:ext uri="{FF2B5EF4-FFF2-40B4-BE49-F238E27FC236}">
                  <a16:creationId xmlns:a16="http://schemas.microsoft.com/office/drawing/2014/main" id="{E71A8327-C472-4A3A-AEEB-014D6AE6E01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32335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GB 300</a:t>
              </a:r>
            </a:p>
          </p:txBody>
        </p:sp>
        <p:sp>
          <p:nvSpPr>
            <p:cNvPr id="14" name="Title 1">
              <a:extLst>
                <a:ext uri="{FF2B5EF4-FFF2-40B4-BE49-F238E27FC236}">
                  <a16:creationId xmlns:a16="http://schemas.microsoft.com/office/drawing/2014/main" id="{A505A94C-BAB1-4792-ADD1-173DEAF99E8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72927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 err="1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lega</a:t>
              </a: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Ella</a:t>
              </a:r>
            </a:p>
          </p:txBody>
        </p:sp>
        <p:sp>
          <p:nvSpPr>
            <p:cNvPr id="15" name="Title 1">
              <a:extLst>
                <a:ext uri="{FF2B5EF4-FFF2-40B4-BE49-F238E27FC236}">
                  <a16:creationId xmlns:a16="http://schemas.microsoft.com/office/drawing/2014/main" id="{60621B02-8740-4E25-9BB7-CF709C27903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1246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TM</a:t>
              </a:r>
            </a:p>
          </p:txBody>
        </p:sp>
        <p:sp>
          <p:nvSpPr>
            <p:cNvPr id="16" name="Title 1">
              <a:extLst>
                <a:ext uri="{FF2B5EF4-FFF2-40B4-BE49-F238E27FC236}">
                  <a16:creationId xmlns:a16="http://schemas.microsoft.com/office/drawing/2014/main" id="{10391178-B894-482F-B74C-8BCDAA9B953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0769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reciendo</a:t>
              </a:r>
              <a:endParaRPr lang="en-US" sz="8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7" name="Title 1">
              <a:extLst>
                <a:ext uri="{FF2B5EF4-FFF2-40B4-BE49-F238E27FC236}">
                  <a16:creationId xmlns:a16="http://schemas.microsoft.com/office/drawing/2014/main" id="{A5489317-2ABF-469F-B0F6-A1BB9930CF1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03774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R</a:t>
              </a:r>
            </a:p>
          </p:txBody>
        </p:sp>
        <p:sp>
          <p:nvSpPr>
            <p:cNvPr id="18" name="Title 1">
              <a:extLst>
                <a:ext uri="{FF2B5EF4-FFF2-40B4-BE49-F238E27FC236}">
                  <a16:creationId xmlns:a16="http://schemas.microsoft.com/office/drawing/2014/main" id="{7A2AC427-A6B4-4AFE-BF03-ADD64612C91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259026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Football</a:t>
              </a:r>
            </a:p>
          </p:txBody>
        </p:sp>
        <p:sp>
          <p:nvSpPr>
            <p:cNvPr id="20" name="Title 1">
              <a:extLst>
                <a:ext uri="{FF2B5EF4-FFF2-40B4-BE49-F238E27FC236}">
                  <a16:creationId xmlns:a16="http://schemas.microsoft.com/office/drawing/2014/main" id="{4AABF5FA-EF56-4EAC-A286-EBF1FA404E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751938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ix</a:t>
              </a:r>
            </a:p>
          </p:txBody>
        </p:sp>
        <p:sp>
          <p:nvSpPr>
            <p:cNvPr id="21" name="Title 1">
              <a:extLst>
                <a:ext uri="{FF2B5EF4-FFF2-40B4-BE49-F238E27FC236}">
                  <a16:creationId xmlns:a16="http://schemas.microsoft.com/office/drawing/2014/main" id="{84159B7F-1DE9-4A58-845E-BD3BB3C9030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74074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creens</a:t>
              </a:r>
            </a:p>
          </p:txBody>
        </p:sp>
        <p:sp>
          <p:nvSpPr>
            <p:cNvPr id="22" name="Title 1">
              <a:extLst>
                <a:ext uri="{FF2B5EF4-FFF2-40B4-BE49-F238E27FC236}">
                  <a16:creationId xmlns:a16="http://schemas.microsoft.com/office/drawing/2014/main" id="{025A69A8-B524-4E1E-81BA-B44D7FE143F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1124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Euro16</a:t>
              </a:r>
            </a:p>
          </p:txBody>
        </p:sp>
        <p:sp>
          <p:nvSpPr>
            <p:cNvPr id="23" name="Title 1">
              <a:extLst>
                <a:ext uri="{FF2B5EF4-FFF2-40B4-BE49-F238E27FC236}">
                  <a16:creationId xmlns:a16="http://schemas.microsoft.com/office/drawing/2014/main" id="{63D00E8A-FE7E-4BB4-B27D-581A1B4CB13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27565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IMC17</a:t>
              </a:r>
            </a:p>
          </p:txBody>
        </p:sp>
        <p:sp>
          <p:nvSpPr>
            <p:cNvPr id="24" name="Title 1">
              <a:extLst>
                <a:ext uri="{FF2B5EF4-FFF2-40B4-BE49-F238E27FC236}">
                  <a16:creationId xmlns:a16="http://schemas.microsoft.com/office/drawing/2014/main" id="{587763CC-4688-4035-8B2C-3BC2E5F2447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507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&amp;Roll</a:t>
              </a:r>
              <a:endParaRPr lang="en-US" sz="8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25" name="Title 1">
              <a:extLst>
                <a:ext uri="{FF2B5EF4-FFF2-40B4-BE49-F238E27FC236}">
                  <a16:creationId xmlns:a16="http://schemas.microsoft.com/office/drawing/2014/main" id="{526D7543-F0E9-4C81-B979-58FABBAA0B1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8830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DEs</a:t>
              </a:r>
            </a:p>
          </p:txBody>
        </p:sp>
        <p:sp>
          <p:nvSpPr>
            <p:cNvPr id="26" name="Title 1">
              <a:extLst>
                <a:ext uri="{FF2B5EF4-FFF2-40B4-BE49-F238E27FC236}">
                  <a16:creationId xmlns:a16="http://schemas.microsoft.com/office/drawing/2014/main" id="{B4F48D4A-B6C6-41E2-8D83-7A15DC141A8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730010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eals</a:t>
              </a:r>
            </a:p>
          </p:txBody>
        </p:sp>
        <p:sp>
          <p:nvSpPr>
            <p:cNvPr id="27" name="Title 1">
              <a:extLst>
                <a:ext uri="{FF2B5EF4-FFF2-40B4-BE49-F238E27FC236}">
                  <a16:creationId xmlns:a16="http://schemas.microsoft.com/office/drawing/2014/main" id="{136E643B-782B-4A7D-865D-6E5930B6BAD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60961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artender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BBAB112D-FF72-4F9D-BF73-12F7B90786F8}"/>
                </a:ext>
              </a:extLst>
            </p:cNvPr>
            <p:cNvCxnSpPr/>
            <p:nvPr/>
          </p:nvCxnSpPr>
          <p:spPr bwMode="auto">
            <a:xfrm>
              <a:off x="1593571" y="1379240"/>
              <a:ext cx="9820519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29" name="Title 21">
              <a:extLst>
                <a:ext uri="{FF2B5EF4-FFF2-40B4-BE49-F238E27FC236}">
                  <a16:creationId xmlns:a16="http://schemas.microsoft.com/office/drawing/2014/main" id="{7B0DF844-C99E-49AE-B1D5-C0DB6973591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0726" y="1188740"/>
              <a:ext cx="1100095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/>
              <a:r>
                <a:rPr lang="en-US" sz="1051" kern="0" dirty="0">
                  <a:solidFill>
                    <a:srgbClr val="FFFFFF"/>
                  </a:solidFill>
                  <a:latin typeface="Unity" panose="020B0505030303020204" pitchFamily="34" charset="0"/>
                  <a:sym typeface="Arial"/>
                </a:rPr>
                <a:t> </a:t>
              </a:r>
              <a:r>
                <a:rPr lang="en-US" sz="1051" kern="0" dirty="0">
                  <a:solidFill>
                    <a:srgbClr val="000000"/>
                  </a:solidFill>
                  <a:latin typeface="Unity" panose="020B0505030303020204" pitchFamily="34" charset="0"/>
                  <a:sym typeface="Arial"/>
                </a:rPr>
                <a:t>HORECA PUSH </a:t>
              </a:r>
              <a:r>
                <a:rPr lang="en-US" sz="1051" kern="0" dirty="0">
                  <a:solidFill>
                    <a:srgbClr val="000000"/>
                  </a:solidFill>
                  <a:latin typeface="Unity" panose="020B0505030303020204" pitchFamily="34" charset="0"/>
                  <a:sym typeface="Wingdings 3" panose="05040102010807070707" pitchFamily="18" charset="2"/>
                </a:rPr>
                <a:t></a:t>
              </a:r>
              <a:endParaRPr lang="en-US" sz="1051" kern="0" dirty="0">
                <a:solidFill>
                  <a:srgbClr val="000000"/>
                </a:solidFill>
                <a:latin typeface="Unity" panose="020B0505030303020204" pitchFamily="34" charset="0"/>
                <a:sym typeface="Arial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9EFD3947-B488-4687-942D-743209021E83}"/>
                </a:ext>
              </a:extLst>
            </p:cNvPr>
            <p:cNvGrpSpPr/>
            <p:nvPr/>
          </p:nvGrpSpPr>
          <p:grpSpPr>
            <a:xfrm>
              <a:off x="1778720" y="1282737"/>
              <a:ext cx="182880" cy="182880"/>
              <a:chOff x="1765877" y="1239020"/>
              <a:chExt cx="182880" cy="182880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DB6198DE-41BA-47C2-898B-F2420A800DC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4E33C225-1EDF-4BDA-B216-BB758A3CDCAC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9762FB2-CAFB-47A5-B54E-060CC3C41093}"/>
                </a:ext>
              </a:extLst>
            </p:cNvPr>
            <p:cNvGrpSpPr/>
            <p:nvPr/>
          </p:nvGrpSpPr>
          <p:grpSpPr>
            <a:xfrm>
              <a:off x="5824144" y="1282737"/>
              <a:ext cx="182880" cy="182880"/>
              <a:chOff x="1765877" y="1239020"/>
              <a:chExt cx="182880" cy="182880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1523972A-C2EA-4B41-B925-621CBA8A5AEC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F7F21A4B-71A3-4BE8-A680-AFB2DC766671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7DE42F5-934B-48DB-8D2B-5AD2AAF1C697}"/>
                </a:ext>
              </a:extLst>
            </p:cNvPr>
            <p:cNvGrpSpPr/>
            <p:nvPr/>
          </p:nvGrpSpPr>
          <p:grpSpPr>
            <a:xfrm>
              <a:off x="6835500" y="1282737"/>
              <a:ext cx="182880" cy="182880"/>
              <a:chOff x="1765877" y="1239020"/>
              <a:chExt cx="182880" cy="182880"/>
            </a:xfrm>
          </p:grpSpPr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64045108-0012-4BFB-91A0-E49D6A9CD0BE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B6310A9-4134-42AC-A63D-3728E4A2B40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A65213F1-F06A-41D6-9181-8935E0123FD7}"/>
                </a:ext>
              </a:extLst>
            </p:cNvPr>
            <p:cNvGrpSpPr/>
            <p:nvPr/>
          </p:nvGrpSpPr>
          <p:grpSpPr>
            <a:xfrm>
              <a:off x="7341179" y="1282737"/>
              <a:ext cx="182880" cy="182880"/>
              <a:chOff x="1765877" y="1239020"/>
              <a:chExt cx="182880" cy="182880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9D351DD3-84A4-4328-896D-5D2929153483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087650D0-2639-40ED-9526-9D0903FE4D22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1CEFCA86-2C8D-4CAD-B76E-30736426EA64}"/>
                </a:ext>
              </a:extLst>
            </p:cNvPr>
            <p:cNvGrpSpPr/>
            <p:nvPr/>
          </p:nvGrpSpPr>
          <p:grpSpPr>
            <a:xfrm>
              <a:off x="8352535" y="1282737"/>
              <a:ext cx="182880" cy="182880"/>
              <a:chOff x="1765877" y="1239020"/>
              <a:chExt cx="182880" cy="182880"/>
            </a:xfrm>
          </p:grpSpPr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19A8408A-5C6B-4E8F-81F8-7E3C4B60BA5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89CD5626-FD48-4F2D-A0CB-75E2C25922DC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E5F9060-8E83-4203-9CD5-62A1F0F583A3}"/>
                </a:ext>
              </a:extLst>
            </p:cNvPr>
            <p:cNvGrpSpPr/>
            <p:nvPr/>
          </p:nvGrpSpPr>
          <p:grpSpPr>
            <a:xfrm>
              <a:off x="9363891" y="1282737"/>
              <a:ext cx="182880" cy="182880"/>
              <a:chOff x="1765877" y="1239020"/>
              <a:chExt cx="182880" cy="182880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1F039CA9-FB90-4319-98AA-20A66403EB5C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C82466B-2C01-409A-AF6F-1A3A31F78F06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01D8E65A-822E-4646-AD1E-5C590006DB01}"/>
                </a:ext>
              </a:extLst>
            </p:cNvPr>
            <p:cNvGrpSpPr/>
            <p:nvPr/>
          </p:nvGrpSpPr>
          <p:grpSpPr>
            <a:xfrm>
              <a:off x="7846856" y="1282737"/>
              <a:ext cx="182880" cy="182880"/>
              <a:chOff x="1765877" y="1239020"/>
              <a:chExt cx="182880" cy="182880"/>
            </a:xfrm>
          </p:grpSpPr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8D7F890-7819-4CD0-8046-5BE093FF9AE6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39AB73DC-222B-47EE-A8A1-1B511A6AF054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30E1D404-4489-4418-B397-1706CF98AF99}"/>
                </a:ext>
              </a:extLst>
            </p:cNvPr>
            <p:cNvGrpSpPr/>
            <p:nvPr/>
          </p:nvGrpSpPr>
          <p:grpSpPr>
            <a:xfrm>
              <a:off x="8858212" y="1282737"/>
              <a:ext cx="182880" cy="182880"/>
              <a:chOff x="1765877" y="1239020"/>
              <a:chExt cx="182880" cy="182880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03A34D27-7292-4814-83CF-7BA0D1D1CF38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7058AD9A-D5F4-4FBF-B19E-F7CD0B47CC4A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A62C7A4-1D2B-4972-9107-05A87A009133}"/>
                </a:ext>
              </a:extLst>
            </p:cNvPr>
            <p:cNvGrpSpPr/>
            <p:nvPr/>
          </p:nvGrpSpPr>
          <p:grpSpPr>
            <a:xfrm>
              <a:off x="9869568" y="1282737"/>
              <a:ext cx="182880" cy="182880"/>
              <a:chOff x="1765877" y="1239020"/>
              <a:chExt cx="182880" cy="182880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F520938F-7533-4265-BEC9-21A9926EB8D3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16F361C5-D599-4EF2-8172-345B9DF1B94A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B1D88B45-63BB-45A7-A243-2ADCCD1FFB8F}"/>
                </a:ext>
              </a:extLst>
            </p:cNvPr>
            <p:cNvGrpSpPr/>
            <p:nvPr/>
          </p:nvGrpSpPr>
          <p:grpSpPr>
            <a:xfrm>
              <a:off x="10375247" y="1282737"/>
              <a:ext cx="182880" cy="182880"/>
              <a:chOff x="1765877" y="1239020"/>
              <a:chExt cx="182880" cy="182880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68C24780-CC9A-425B-B9D8-2728F3A22B6C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1EC4B381-2AFB-4D5F-8A79-41B4040759E9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5FF20A8-8C3E-4A0B-BCC1-6D4243A49134}"/>
                </a:ext>
              </a:extLst>
            </p:cNvPr>
            <p:cNvGrpSpPr/>
            <p:nvPr/>
          </p:nvGrpSpPr>
          <p:grpSpPr>
            <a:xfrm>
              <a:off x="10880919" y="1282737"/>
              <a:ext cx="182880" cy="182880"/>
              <a:chOff x="1765877" y="1239020"/>
              <a:chExt cx="182880" cy="182880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17287C52-AF08-4B07-BBEB-2759891B9F04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1174CF27-FD8E-4991-A2B3-CBE083E58D66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38F8BB3-56ED-4B2A-BF15-B29C978B546A}"/>
                </a:ext>
              </a:extLst>
            </p:cNvPr>
            <p:cNvGrpSpPr/>
            <p:nvPr/>
          </p:nvGrpSpPr>
          <p:grpSpPr>
            <a:xfrm>
              <a:off x="2790076" y="1282737"/>
              <a:ext cx="182880" cy="182880"/>
              <a:chOff x="1765877" y="1239020"/>
              <a:chExt cx="182880" cy="182880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66C8092B-13FB-435E-B363-A25A447836F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66476254-CEFD-4C35-BBEE-D1A8F6108DAF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65B84D1F-DA2E-4EEA-A1EE-E5A6E8D43A79}"/>
                </a:ext>
              </a:extLst>
            </p:cNvPr>
            <p:cNvGrpSpPr/>
            <p:nvPr/>
          </p:nvGrpSpPr>
          <p:grpSpPr>
            <a:xfrm>
              <a:off x="2284399" y="1282737"/>
              <a:ext cx="182880" cy="182880"/>
              <a:chOff x="1765877" y="1239020"/>
              <a:chExt cx="182880" cy="182880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EB26CC25-6641-409E-80FA-908E6808A505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C76D225A-2B4F-412C-89F8-D289F3842DB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1E3A0F2E-64C2-4016-ACD9-3E32E31B3AA8}"/>
                </a:ext>
              </a:extLst>
            </p:cNvPr>
            <p:cNvGrpSpPr/>
            <p:nvPr/>
          </p:nvGrpSpPr>
          <p:grpSpPr>
            <a:xfrm>
              <a:off x="3295755" y="1282737"/>
              <a:ext cx="182880" cy="182880"/>
              <a:chOff x="1765877" y="1239020"/>
              <a:chExt cx="182880" cy="18288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37ABC58B-87C7-412A-923C-55981DE0842E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9E487696-12A0-4E51-A37D-E4C27F8EDDDC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3CB7FB96-F5DC-40BE-ABD6-36D7AB59FD4A}"/>
                </a:ext>
              </a:extLst>
            </p:cNvPr>
            <p:cNvGrpSpPr/>
            <p:nvPr/>
          </p:nvGrpSpPr>
          <p:grpSpPr>
            <a:xfrm>
              <a:off x="4307111" y="1282737"/>
              <a:ext cx="182880" cy="182880"/>
              <a:chOff x="1765877" y="1239020"/>
              <a:chExt cx="182880" cy="182880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F9D03B78-9EDC-41AF-8AA3-ECFCD79EEE21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0077E8E9-4744-464F-92EE-46EE4705704A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BE6DEE69-BAD7-4709-8523-6FDB66302BF8}"/>
                </a:ext>
              </a:extLst>
            </p:cNvPr>
            <p:cNvGrpSpPr/>
            <p:nvPr/>
          </p:nvGrpSpPr>
          <p:grpSpPr>
            <a:xfrm>
              <a:off x="3801432" y="1282737"/>
              <a:ext cx="182880" cy="182880"/>
              <a:chOff x="1765877" y="1239020"/>
              <a:chExt cx="182880" cy="182880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859F56E4-8093-496C-841B-D8B7B52A625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A83DBE0D-7FA0-4785-8FC0-1F26A5D170DE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C1014AD-9924-47F4-BB8F-F8E67A0A7ED3}"/>
                </a:ext>
              </a:extLst>
            </p:cNvPr>
            <p:cNvGrpSpPr/>
            <p:nvPr/>
          </p:nvGrpSpPr>
          <p:grpSpPr>
            <a:xfrm>
              <a:off x="4812788" y="1282737"/>
              <a:ext cx="182880" cy="182880"/>
              <a:chOff x="1765877" y="1239020"/>
              <a:chExt cx="182880" cy="182880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633B5245-047F-455B-B265-3E2BEE0338D5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68C3DD4F-D5C9-452F-B03E-E4CB5E06AECA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9E14729-0692-4C05-8B11-9A8D43A7B971}"/>
                </a:ext>
              </a:extLst>
            </p:cNvPr>
            <p:cNvGrpSpPr/>
            <p:nvPr/>
          </p:nvGrpSpPr>
          <p:grpSpPr>
            <a:xfrm>
              <a:off x="5318467" y="1282737"/>
              <a:ext cx="182880" cy="182880"/>
              <a:chOff x="1765877" y="1239020"/>
              <a:chExt cx="182880" cy="182880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22AA9469-311D-407A-9D98-D0A8EA459DBF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F1E7B649-64EE-475F-B2D1-B5DA67F0A791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E47025D4-9812-46BA-B42B-CF0827306A8D}"/>
                </a:ext>
              </a:extLst>
            </p:cNvPr>
            <p:cNvGrpSpPr/>
            <p:nvPr/>
          </p:nvGrpSpPr>
          <p:grpSpPr>
            <a:xfrm>
              <a:off x="6329823" y="1282737"/>
              <a:ext cx="182880" cy="182880"/>
              <a:chOff x="1765877" y="1239020"/>
              <a:chExt cx="182880" cy="182880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E9D7C6F9-8533-49EC-9913-898857ADD243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742E0869-970F-42EE-9C40-93BE2CF0676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8A64F39F-11E4-4D31-A715-06F70C7C608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95" t="5351" r="27860" b="8162"/>
          <a:stretch/>
        </p:blipFill>
        <p:spPr>
          <a:xfrm>
            <a:off x="8796592" y="4828564"/>
            <a:ext cx="1727363" cy="1323651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D1FC66E1-AA69-45B4-BBC7-4C3E7E890BE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0083" t="26667" r="49539" b="20000"/>
          <a:stretch/>
        </p:blipFill>
        <p:spPr>
          <a:xfrm>
            <a:off x="5116646" y="4801903"/>
            <a:ext cx="899145" cy="1323659"/>
          </a:xfrm>
          <a:prstGeom prst="rect">
            <a:avLst/>
          </a:prstGeom>
        </p:spPr>
      </p:pic>
      <p:sp>
        <p:nvSpPr>
          <p:cNvPr id="91" name="Pentagon 272">
            <a:extLst>
              <a:ext uri="{FF2B5EF4-FFF2-40B4-BE49-F238E27FC236}">
                <a16:creationId xmlns:a16="http://schemas.microsoft.com/office/drawing/2014/main" id="{78250085-00E1-4DFA-A895-BD2F90F0CB6C}"/>
              </a:ext>
            </a:extLst>
          </p:cNvPr>
          <p:cNvSpPr/>
          <p:nvPr/>
        </p:nvSpPr>
        <p:spPr bwMode="auto">
          <a:xfrm>
            <a:off x="2694344" y="3992106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2" name="Pentagon 273">
            <a:extLst>
              <a:ext uri="{FF2B5EF4-FFF2-40B4-BE49-F238E27FC236}">
                <a16:creationId xmlns:a16="http://schemas.microsoft.com/office/drawing/2014/main" id="{F3215A66-479C-435B-BC3A-A67827A39ED7}"/>
              </a:ext>
            </a:extLst>
          </p:cNvPr>
          <p:cNvSpPr/>
          <p:nvPr/>
        </p:nvSpPr>
        <p:spPr bwMode="auto">
          <a:xfrm>
            <a:off x="4691843" y="3992106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3" name="Pentagon 274">
            <a:extLst>
              <a:ext uri="{FF2B5EF4-FFF2-40B4-BE49-F238E27FC236}">
                <a16:creationId xmlns:a16="http://schemas.microsoft.com/office/drawing/2014/main" id="{F9B0DC7F-6949-4CAC-922D-DFC241206888}"/>
              </a:ext>
            </a:extLst>
          </p:cNvPr>
          <p:cNvSpPr/>
          <p:nvPr/>
        </p:nvSpPr>
        <p:spPr bwMode="auto">
          <a:xfrm>
            <a:off x="6677006" y="3992106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4" name="Pentagon 275">
            <a:extLst>
              <a:ext uri="{FF2B5EF4-FFF2-40B4-BE49-F238E27FC236}">
                <a16:creationId xmlns:a16="http://schemas.microsoft.com/office/drawing/2014/main" id="{91137C2D-A6E7-441A-8DD2-55F11C0D148B}"/>
              </a:ext>
            </a:extLst>
          </p:cNvPr>
          <p:cNvSpPr/>
          <p:nvPr/>
        </p:nvSpPr>
        <p:spPr bwMode="auto">
          <a:xfrm>
            <a:off x="8659946" y="3956010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5AC2EBB-B051-4CED-A546-DDF0AD175D65}"/>
              </a:ext>
            </a:extLst>
          </p:cNvPr>
          <p:cNvSpPr/>
          <p:nvPr/>
        </p:nvSpPr>
        <p:spPr bwMode="auto">
          <a:xfrm>
            <a:off x="2686427" y="2263193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6" name="Title 1">
            <a:extLst>
              <a:ext uri="{FF2B5EF4-FFF2-40B4-BE49-F238E27FC236}">
                <a16:creationId xmlns:a16="http://schemas.microsoft.com/office/drawing/2014/main" id="{AA52B0BE-560B-462D-81DF-6701CB2CC109}"/>
              </a:ext>
            </a:extLst>
          </p:cNvPr>
          <p:cNvSpPr txBox="1">
            <a:spLocks/>
          </p:cNvSpPr>
          <p:nvPr/>
        </p:nvSpPr>
        <p:spPr bwMode="auto">
          <a:xfrm>
            <a:off x="4503526" y="2217952"/>
            <a:ext cx="939243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4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A54B5A81-9F73-4063-BF5D-E6839B0D4231}"/>
              </a:ext>
            </a:extLst>
          </p:cNvPr>
          <p:cNvSpPr/>
          <p:nvPr/>
        </p:nvSpPr>
        <p:spPr bwMode="auto">
          <a:xfrm>
            <a:off x="4674852" y="2263193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98" name="Title 1">
            <a:extLst>
              <a:ext uri="{FF2B5EF4-FFF2-40B4-BE49-F238E27FC236}">
                <a16:creationId xmlns:a16="http://schemas.microsoft.com/office/drawing/2014/main" id="{5497BFDA-4EB7-47B1-BF98-51EAF4FD7FF2}"/>
              </a:ext>
            </a:extLst>
          </p:cNvPr>
          <p:cNvSpPr txBox="1">
            <a:spLocks/>
          </p:cNvSpPr>
          <p:nvPr/>
        </p:nvSpPr>
        <p:spPr bwMode="auto">
          <a:xfrm>
            <a:off x="2686426" y="3955319"/>
            <a:ext cx="2005752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endParaRPr lang="en-US" sz="1200" b="0" kern="0" dirty="0">
              <a:solidFill>
                <a:srgbClr val="FFFFFF"/>
              </a:solidFill>
              <a:latin typeface="Calibri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CB7AE6EC-14BE-4397-9AEE-9983B093ADC8}"/>
              </a:ext>
            </a:extLst>
          </p:cNvPr>
          <p:cNvSpPr txBox="1">
            <a:spLocks/>
          </p:cNvSpPr>
          <p:nvPr/>
        </p:nvSpPr>
        <p:spPr bwMode="auto">
          <a:xfrm>
            <a:off x="2559194" y="2217952"/>
            <a:ext cx="931272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3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E9D7195E-7438-4335-AFEC-910783B33811}"/>
              </a:ext>
            </a:extLst>
          </p:cNvPr>
          <p:cNvSpPr/>
          <p:nvPr/>
        </p:nvSpPr>
        <p:spPr bwMode="auto">
          <a:xfrm>
            <a:off x="6663279" y="2263193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01" name="Title 1">
            <a:extLst>
              <a:ext uri="{FF2B5EF4-FFF2-40B4-BE49-F238E27FC236}">
                <a16:creationId xmlns:a16="http://schemas.microsoft.com/office/drawing/2014/main" id="{3EF49527-B615-47E6-AF61-A84C4B0E5003}"/>
              </a:ext>
            </a:extLst>
          </p:cNvPr>
          <p:cNvSpPr txBox="1">
            <a:spLocks/>
          </p:cNvSpPr>
          <p:nvPr/>
        </p:nvSpPr>
        <p:spPr bwMode="auto">
          <a:xfrm>
            <a:off x="6540058" y="2217952"/>
            <a:ext cx="841343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5</a:t>
            </a:r>
          </a:p>
        </p:txBody>
      </p:sp>
      <p:sp>
        <p:nvSpPr>
          <p:cNvPr id="102" name="Title 1">
            <a:extLst>
              <a:ext uri="{FF2B5EF4-FFF2-40B4-BE49-F238E27FC236}">
                <a16:creationId xmlns:a16="http://schemas.microsoft.com/office/drawing/2014/main" id="{DF33F65A-EC1A-47D1-8459-D4E462784AB9}"/>
              </a:ext>
            </a:extLst>
          </p:cNvPr>
          <p:cNvSpPr txBox="1">
            <a:spLocks/>
          </p:cNvSpPr>
          <p:nvPr/>
        </p:nvSpPr>
        <p:spPr bwMode="auto">
          <a:xfrm>
            <a:off x="4681096" y="3924904"/>
            <a:ext cx="1882303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oly Bars 2</a:t>
            </a:r>
          </a:p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“St Bartholomew”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03" name="Title 1">
            <a:extLst>
              <a:ext uri="{FF2B5EF4-FFF2-40B4-BE49-F238E27FC236}">
                <a16:creationId xmlns:a16="http://schemas.microsoft.com/office/drawing/2014/main" id="{8821104A-3CD2-4909-9D53-0143CF2A26B9}"/>
              </a:ext>
            </a:extLst>
          </p:cNvPr>
          <p:cNvSpPr txBox="1">
            <a:spLocks/>
          </p:cNvSpPr>
          <p:nvPr/>
        </p:nvSpPr>
        <p:spPr bwMode="auto">
          <a:xfrm>
            <a:off x="6680536" y="3924904"/>
            <a:ext cx="1867436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endParaRPr lang="en-US" sz="1200" b="0" kern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8oz Launch</a:t>
            </a:r>
          </a:p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“Complaints”</a:t>
            </a:r>
          </a:p>
          <a:p>
            <a:pPr algn="ctr" defTabSz="914377">
              <a:lnSpc>
                <a:spcPct val="90000"/>
              </a:lnSpc>
            </a:pP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CC706EC-319F-4D70-B612-940DB7F909C6}"/>
              </a:ext>
            </a:extLst>
          </p:cNvPr>
          <p:cNvSpPr/>
          <p:nvPr/>
        </p:nvSpPr>
        <p:spPr bwMode="auto">
          <a:xfrm>
            <a:off x="8651704" y="2270223"/>
            <a:ext cx="1867436" cy="2073715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05" name="Title 1">
            <a:extLst>
              <a:ext uri="{FF2B5EF4-FFF2-40B4-BE49-F238E27FC236}">
                <a16:creationId xmlns:a16="http://schemas.microsoft.com/office/drawing/2014/main" id="{530C6A84-1361-4709-BC8A-B2AE486D95B2}"/>
              </a:ext>
            </a:extLst>
          </p:cNvPr>
          <p:cNvSpPr txBox="1">
            <a:spLocks/>
          </p:cNvSpPr>
          <p:nvPr/>
        </p:nvSpPr>
        <p:spPr bwMode="auto">
          <a:xfrm>
            <a:off x="8657162" y="3924904"/>
            <a:ext cx="1861977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Euro 2016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06" name="Title 1">
            <a:extLst>
              <a:ext uri="{FF2B5EF4-FFF2-40B4-BE49-F238E27FC236}">
                <a16:creationId xmlns:a16="http://schemas.microsoft.com/office/drawing/2014/main" id="{66849C4F-AFE2-4885-B17F-0BEF6EEFF0BC}"/>
              </a:ext>
            </a:extLst>
          </p:cNvPr>
          <p:cNvSpPr txBox="1">
            <a:spLocks/>
          </p:cNvSpPr>
          <p:nvPr/>
        </p:nvSpPr>
        <p:spPr bwMode="auto">
          <a:xfrm>
            <a:off x="8455454" y="2217952"/>
            <a:ext cx="1013771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6</a:t>
            </a:r>
          </a:p>
        </p:txBody>
      </p:sp>
      <p:sp>
        <p:nvSpPr>
          <p:cNvPr id="107" name="Pentagon 272">
            <a:extLst>
              <a:ext uri="{FF2B5EF4-FFF2-40B4-BE49-F238E27FC236}">
                <a16:creationId xmlns:a16="http://schemas.microsoft.com/office/drawing/2014/main" id="{D1BF1BFE-569A-49C6-9143-E076688D19F6}"/>
              </a:ext>
            </a:extLst>
          </p:cNvPr>
          <p:cNvSpPr/>
          <p:nvPr/>
        </p:nvSpPr>
        <p:spPr bwMode="auto">
          <a:xfrm>
            <a:off x="2702262" y="6229320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08" name="Pentagon 273">
            <a:extLst>
              <a:ext uri="{FF2B5EF4-FFF2-40B4-BE49-F238E27FC236}">
                <a16:creationId xmlns:a16="http://schemas.microsoft.com/office/drawing/2014/main" id="{9788188D-C883-4F57-87AF-3F7C3FAF6B06}"/>
              </a:ext>
            </a:extLst>
          </p:cNvPr>
          <p:cNvSpPr/>
          <p:nvPr/>
        </p:nvSpPr>
        <p:spPr bwMode="auto">
          <a:xfrm>
            <a:off x="4699760" y="6229320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09" name="Pentagon 274">
            <a:extLst>
              <a:ext uri="{FF2B5EF4-FFF2-40B4-BE49-F238E27FC236}">
                <a16:creationId xmlns:a16="http://schemas.microsoft.com/office/drawing/2014/main" id="{973FA040-1A64-4C67-BA14-83A909069D41}"/>
              </a:ext>
            </a:extLst>
          </p:cNvPr>
          <p:cNvSpPr/>
          <p:nvPr/>
        </p:nvSpPr>
        <p:spPr bwMode="auto">
          <a:xfrm>
            <a:off x="6684923" y="6229320"/>
            <a:ext cx="1859519" cy="383140"/>
          </a:xfrm>
          <a:prstGeom prst="homePlate">
            <a:avLst>
              <a:gd name="adj" fmla="val 0"/>
            </a:avLst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216843A2-9ADB-4754-A4D3-ED5D2066B9DB}"/>
              </a:ext>
            </a:extLst>
          </p:cNvPr>
          <p:cNvSpPr/>
          <p:nvPr/>
        </p:nvSpPr>
        <p:spPr bwMode="auto">
          <a:xfrm>
            <a:off x="2694344" y="4495884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C7423AB5-5309-4A4A-89C3-3113AED053BB}"/>
              </a:ext>
            </a:extLst>
          </p:cNvPr>
          <p:cNvSpPr/>
          <p:nvPr/>
        </p:nvSpPr>
        <p:spPr bwMode="auto">
          <a:xfrm>
            <a:off x="4682770" y="4495884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12" name="Title 1">
            <a:extLst>
              <a:ext uri="{FF2B5EF4-FFF2-40B4-BE49-F238E27FC236}">
                <a16:creationId xmlns:a16="http://schemas.microsoft.com/office/drawing/2014/main" id="{B7DC87E7-AFE2-473C-8D2D-B989840424FB}"/>
              </a:ext>
            </a:extLst>
          </p:cNvPr>
          <p:cNvSpPr txBox="1">
            <a:spLocks/>
          </p:cNvSpPr>
          <p:nvPr/>
        </p:nvSpPr>
        <p:spPr bwMode="auto">
          <a:xfrm>
            <a:off x="2694344" y="6194704"/>
            <a:ext cx="1867436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oreca Perfect Serve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6DAA9BF-25A7-4934-998C-6C8980A67EBA}"/>
              </a:ext>
            </a:extLst>
          </p:cNvPr>
          <p:cNvSpPr/>
          <p:nvPr/>
        </p:nvSpPr>
        <p:spPr bwMode="auto">
          <a:xfrm>
            <a:off x="6671196" y="4495884"/>
            <a:ext cx="1867436" cy="2099257"/>
          </a:xfrm>
          <a:prstGeom prst="rect">
            <a:avLst/>
          </a:prstGeom>
          <a:noFill/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Arial" charset="0"/>
              <a:ea typeface="ＭＳ Ｐゴシック" pitchFamily="1" charset="-128"/>
              <a:cs typeface="ＭＳ Ｐゴシック" pitchFamily="1" charset="-128"/>
              <a:sym typeface="Arial"/>
            </a:endParaRPr>
          </a:p>
        </p:txBody>
      </p:sp>
      <p:sp>
        <p:nvSpPr>
          <p:cNvPr id="114" name="Title 1">
            <a:extLst>
              <a:ext uri="{FF2B5EF4-FFF2-40B4-BE49-F238E27FC236}">
                <a16:creationId xmlns:a16="http://schemas.microsoft.com/office/drawing/2014/main" id="{427C096C-F781-4790-AA3A-BA16BF5BFDD8}"/>
              </a:ext>
            </a:extLst>
          </p:cNvPr>
          <p:cNvSpPr txBox="1">
            <a:spLocks/>
          </p:cNvSpPr>
          <p:nvPr/>
        </p:nvSpPr>
        <p:spPr bwMode="auto">
          <a:xfrm>
            <a:off x="4648677" y="6194704"/>
            <a:ext cx="1922639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“Don’t Drink to Forget</a:t>
            </a:r>
          </a:p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Drink to Enjoy”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15" name="Title 1">
            <a:extLst>
              <a:ext uri="{FF2B5EF4-FFF2-40B4-BE49-F238E27FC236}">
                <a16:creationId xmlns:a16="http://schemas.microsoft.com/office/drawing/2014/main" id="{C5A4B5F6-3F78-4AFC-AE22-B4188D5C9CE6}"/>
              </a:ext>
            </a:extLst>
          </p:cNvPr>
          <p:cNvSpPr txBox="1">
            <a:spLocks/>
          </p:cNvSpPr>
          <p:nvPr/>
        </p:nvSpPr>
        <p:spPr bwMode="auto">
          <a:xfrm>
            <a:off x="6681448" y="6194704"/>
            <a:ext cx="1867436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We’ll come back… to enjoy our bars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116" name="Title 1">
            <a:extLst>
              <a:ext uri="{FF2B5EF4-FFF2-40B4-BE49-F238E27FC236}">
                <a16:creationId xmlns:a16="http://schemas.microsoft.com/office/drawing/2014/main" id="{BEBF79B2-0E70-4ED3-8548-13910E06E39B}"/>
              </a:ext>
            </a:extLst>
          </p:cNvPr>
          <p:cNvSpPr txBox="1">
            <a:spLocks/>
          </p:cNvSpPr>
          <p:nvPr/>
        </p:nvSpPr>
        <p:spPr bwMode="auto">
          <a:xfrm>
            <a:off x="2696147" y="3924904"/>
            <a:ext cx="1857361" cy="452371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Benditos Bares</a:t>
            </a:r>
          </a:p>
          <a:p>
            <a:pPr algn="ctr" defTabSz="914377">
              <a:lnSpc>
                <a:spcPct val="90000"/>
              </a:lnSpc>
            </a:pPr>
            <a:r>
              <a:rPr lang="en-US" sz="12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“Holy Bars”</a:t>
            </a:r>
            <a:endParaRPr lang="en-US" sz="1200" b="0" kern="0" dirty="0">
              <a:solidFill>
                <a:srgbClr val="FFFFFF"/>
              </a:solidFill>
              <a:latin typeface="Unity" panose="020B050503030302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117" name="Picture 2" descr="http://www.antena3.com/clipping/2014/10/24/00557/30.jpg">
            <a:extLst>
              <a:ext uri="{FF2B5EF4-FFF2-40B4-BE49-F238E27FC236}">
                <a16:creationId xmlns:a16="http://schemas.microsoft.com/office/drawing/2014/main" id="{EFDC277D-1293-4AE8-A9D0-E8DB897A83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27" b="12177"/>
          <a:stretch/>
        </p:blipFill>
        <p:spPr bwMode="auto">
          <a:xfrm>
            <a:off x="4712755" y="2747982"/>
            <a:ext cx="1785935" cy="1007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17">
            <a:extLst>
              <a:ext uri="{FF2B5EF4-FFF2-40B4-BE49-F238E27FC236}">
                <a16:creationId xmlns:a16="http://schemas.microsoft.com/office/drawing/2014/main" id="{C559A830-FEB1-414A-89FF-D943571C0A5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735193" y="2685983"/>
            <a:ext cx="1739691" cy="1172915"/>
          </a:xfrm>
          <a:prstGeom prst="rect">
            <a:avLst/>
          </a:prstGeom>
        </p:spPr>
      </p:pic>
      <p:pic>
        <p:nvPicPr>
          <p:cNvPr id="119" name="Picture 118">
            <a:extLst>
              <a:ext uri="{FF2B5EF4-FFF2-40B4-BE49-F238E27FC236}">
                <a16:creationId xmlns:a16="http://schemas.microsoft.com/office/drawing/2014/main" id="{23417728-6828-4D6B-9693-241A52344C8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20099" y="2618436"/>
            <a:ext cx="1520295" cy="1304075"/>
          </a:xfrm>
          <a:prstGeom prst="rect">
            <a:avLst/>
          </a:prstGeom>
        </p:spPr>
      </p:pic>
      <p:pic>
        <p:nvPicPr>
          <p:cNvPr id="120" name="Picture 119">
            <a:extLst>
              <a:ext uri="{FF2B5EF4-FFF2-40B4-BE49-F238E27FC236}">
                <a16:creationId xmlns:a16="http://schemas.microsoft.com/office/drawing/2014/main" id="{DA003617-8B80-4466-AD64-EDFF04AC43C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24608" y="2543984"/>
            <a:ext cx="1127092" cy="1291723"/>
          </a:xfrm>
          <a:prstGeom prst="rect">
            <a:avLst/>
          </a:prstGeom>
        </p:spPr>
      </p:pic>
      <p:pic>
        <p:nvPicPr>
          <p:cNvPr id="121" name="Picture 2">
            <a:extLst>
              <a:ext uri="{FF2B5EF4-FFF2-40B4-BE49-F238E27FC236}">
                <a16:creationId xmlns:a16="http://schemas.microsoft.com/office/drawing/2014/main" id="{0B2D25D7-7B80-44EB-95D0-BA8299358F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19" t="17195" r="3307" b="9616"/>
          <a:stretch/>
        </p:blipFill>
        <p:spPr bwMode="auto">
          <a:xfrm>
            <a:off x="2768370" y="5010440"/>
            <a:ext cx="1662193" cy="899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" name="Title 1">
            <a:extLst>
              <a:ext uri="{FF2B5EF4-FFF2-40B4-BE49-F238E27FC236}">
                <a16:creationId xmlns:a16="http://schemas.microsoft.com/office/drawing/2014/main" id="{3ED0C9B4-B332-4418-B9A2-2BF7D0BEBC3F}"/>
              </a:ext>
            </a:extLst>
          </p:cNvPr>
          <p:cNvSpPr txBox="1">
            <a:spLocks/>
          </p:cNvSpPr>
          <p:nvPr/>
        </p:nvSpPr>
        <p:spPr bwMode="auto">
          <a:xfrm>
            <a:off x="4516286" y="4439879"/>
            <a:ext cx="939243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8</a:t>
            </a:r>
          </a:p>
        </p:txBody>
      </p:sp>
      <p:sp>
        <p:nvSpPr>
          <p:cNvPr id="123" name="Title 1">
            <a:extLst>
              <a:ext uri="{FF2B5EF4-FFF2-40B4-BE49-F238E27FC236}">
                <a16:creationId xmlns:a16="http://schemas.microsoft.com/office/drawing/2014/main" id="{43AF6DE7-C108-4AEA-9A28-CDC8872122D0}"/>
              </a:ext>
            </a:extLst>
          </p:cNvPr>
          <p:cNvSpPr txBox="1">
            <a:spLocks/>
          </p:cNvSpPr>
          <p:nvPr/>
        </p:nvSpPr>
        <p:spPr bwMode="auto">
          <a:xfrm>
            <a:off x="2571954" y="4439879"/>
            <a:ext cx="931272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17</a:t>
            </a:r>
          </a:p>
        </p:txBody>
      </p:sp>
      <p:sp>
        <p:nvSpPr>
          <p:cNvPr id="124" name="Title 1">
            <a:extLst>
              <a:ext uri="{FF2B5EF4-FFF2-40B4-BE49-F238E27FC236}">
                <a16:creationId xmlns:a16="http://schemas.microsoft.com/office/drawing/2014/main" id="{8B92B30E-BD5F-4B3E-BA82-8360204F6301}"/>
              </a:ext>
            </a:extLst>
          </p:cNvPr>
          <p:cNvSpPr txBox="1">
            <a:spLocks/>
          </p:cNvSpPr>
          <p:nvPr/>
        </p:nvSpPr>
        <p:spPr bwMode="auto">
          <a:xfrm>
            <a:off x="6552818" y="4439879"/>
            <a:ext cx="841343" cy="452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en-US" sz="2400" b="1">
                <a:solidFill>
                  <a:srgbClr val="F52026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F52026"/>
                </a:solidFill>
                <a:latin typeface="Arial Bold" pitchFamily="1" charset="0"/>
                <a:ea typeface="ＭＳ Ｐゴシック" pitchFamily="1" charset="-128"/>
                <a:cs typeface="ＭＳ Ｐゴシック" pitchFamily="1" charset="-128"/>
              </a:defRPr>
            </a:lvl9pPr>
          </a:lstStyle>
          <a:p>
            <a:pPr algn="ctr" defTabSz="914377">
              <a:lnSpc>
                <a:spcPct val="90000"/>
              </a:lnSpc>
            </a:pP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latin typeface="Calibri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2020</a:t>
            </a: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359CA83F-EDBA-4E61-8C17-ADE208AA1CE1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12450" t="25301" r="47167" b="24000"/>
          <a:stretch/>
        </p:blipFill>
        <p:spPr>
          <a:xfrm>
            <a:off x="6713072" y="4806682"/>
            <a:ext cx="1743564" cy="1231295"/>
          </a:xfrm>
          <a:prstGeom prst="rect">
            <a:avLst/>
          </a:prstGeom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01A45C3F-ACBF-484D-9BC7-226C0C310F18}"/>
              </a:ext>
            </a:extLst>
          </p:cNvPr>
          <p:cNvSpPr/>
          <p:nvPr/>
        </p:nvSpPr>
        <p:spPr>
          <a:xfrm>
            <a:off x="3472294" y="2337374"/>
            <a:ext cx="10294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/>
            <a:r>
              <a:rPr lang="en-US" sz="1100" b="1">
                <a:solidFill>
                  <a:prstClr val="black"/>
                </a:solidFill>
                <a:highlight>
                  <a:srgbClr val="F4F4F4"/>
                </a:highlight>
                <a:latin typeface="Century Gothic" panose="020B0502020202020204" pitchFamily="34" charset="0"/>
                <a:cs typeface="Arial"/>
                <a:sym typeface="Arial"/>
              </a:rPr>
              <a:t>INV: 5.950K€</a:t>
            </a:r>
            <a:endParaRPr lang="en-US" sz="1100" b="1" dirty="0">
              <a:solidFill>
                <a:prstClr val="black"/>
              </a:solidFill>
              <a:highlight>
                <a:srgbClr val="F4F4F4"/>
              </a:highlight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B4B814D-22FA-4C1F-A02E-3819E23E3111}"/>
              </a:ext>
            </a:extLst>
          </p:cNvPr>
          <p:cNvSpPr/>
          <p:nvPr/>
        </p:nvSpPr>
        <p:spPr>
          <a:xfrm>
            <a:off x="7513066" y="2308967"/>
            <a:ext cx="10294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/>
            <a:r>
              <a:rPr lang="en-US" sz="1100" b="1">
                <a:solidFill>
                  <a:prstClr val="black"/>
                </a:solidFill>
                <a:highlight>
                  <a:srgbClr val="F4F4F4"/>
                </a:highlight>
                <a:latin typeface="Century Gothic" panose="020B0502020202020204" pitchFamily="34" charset="0"/>
                <a:cs typeface="Arial"/>
                <a:sym typeface="Arial"/>
              </a:rPr>
              <a:t>INV: 4.941K€</a:t>
            </a:r>
            <a:endParaRPr lang="en-US" sz="1100" b="1" dirty="0">
              <a:solidFill>
                <a:prstClr val="black"/>
              </a:solidFill>
              <a:highlight>
                <a:srgbClr val="F4F4F4"/>
              </a:highlight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F6A347B-8301-418C-B906-9E55C8368E19}"/>
              </a:ext>
            </a:extLst>
          </p:cNvPr>
          <p:cNvSpPr/>
          <p:nvPr/>
        </p:nvSpPr>
        <p:spPr>
          <a:xfrm>
            <a:off x="5490139" y="4525267"/>
            <a:ext cx="10294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/>
            <a:r>
              <a:rPr lang="en-US" sz="1100" b="1">
                <a:solidFill>
                  <a:prstClr val="black"/>
                </a:solidFill>
                <a:highlight>
                  <a:srgbClr val="F4F4F4"/>
                </a:highlight>
                <a:latin typeface="Century Gothic" panose="020B0502020202020204" pitchFamily="34" charset="0"/>
                <a:cs typeface="Arial"/>
                <a:sym typeface="Arial"/>
              </a:rPr>
              <a:t>INV: 4.321K€</a:t>
            </a:r>
            <a:endParaRPr lang="en-US" sz="1100" b="1" dirty="0">
              <a:solidFill>
                <a:prstClr val="black"/>
              </a:solidFill>
              <a:highlight>
                <a:srgbClr val="F4F4F4"/>
              </a:highlight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A4C41FB-0400-4D7D-A8E3-CE6B6E2C3762}"/>
              </a:ext>
            </a:extLst>
          </p:cNvPr>
          <p:cNvSpPr/>
          <p:nvPr/>
        </p:nvSpPr>
        <p:spPr>
          <a:xfrm>
            <a:off x="7462423" y="4525125"/>
            <a:ext cx="102944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/>
            <a:r>
              <a:rPr lang="en-US" sz="1100" b="1">
                <a:solidFill>
                  <a:prstClr val="black"/>
                </a:solidFill>
                <a:highlight>
                  <a:srgbClr val="F4F4F4"/>
                </a:highlight>
                <a:latin typeface="Century Gothic" panose="020B0502020202020204" pitchFamily="34" charset="0"/>
                <a:cs typeface="Arial"/>
                <a:sym typeface="Arial"/>
              </a:rPr>
              <a:t>INV: 5.950K€</a:t>
            </a:r>
            <a:endParaRPr lang="en-US" sz="1100" b="1" dirty="0">
              <a:solidFill>
                <a:prstClr val="black"/>
              </a:solidFill>
              <a:highlight>
                <a:srgbClr val="F4F4F4"/>
              </a:highlight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132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8CEFCE90-8DA1-4E20-AC7A-F4BC5212435A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r="35179"/>
          <a:stretch/>
        </p:blipFill>
        <p:spPr>
          <a:xfrm>
            <a:off x="577703" y="2374129"/>
            <a:ext cx="2029744" cy="4029401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33" name="TextBox 132">
            <a:extLst>
              <a:ext uri="{FF2B5EF4-FFF2-40B4-BE49-F238E27FC236}">
                <a16:creationId xmlns:a16="http://schemas.microsoft.com/office/drawing/2014/main" id="{BA05510F-27A0-43B5-AB94-81003E28FD81}"/>
              </a:ext>
            </a:extLst>
          </p:cNvPr>
          <p:cNvSpPr txBox="1"/>
          <p:nvPr/>
        </p:nvSpPr>
        <p:spPr>
          <a:xfrm>
            <a:off x="638693" y="3790637"/>
            <a:ext cx="137299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Unity" panose="020B0505030303020204" pitchFamily="34" charset="0"/>
              </a:rPr>
              <a:t>HIGH PROFILE ATL </a:t>
            </a:r>
            <a:r>
              <a:rPr lang="en-US" sz="1600" b="1">
                <a:solidFill>
                  <a:schemeClr val="bg1"/>
                </a:solidFill>
                <a:latin typeface="Unity" panose="020B0505030303020204" pitchFamily="34" charset="0"/>
              </a:rPr>
              <a:t>FOR HORECA</a:t>
            </a:r>
            <a:endParaRPr lang="en-US" sz="1600" b="1" dirty="0">
              <a:solidFill>
                <a:schemeClr val="bg1"/>
              </a:solidFill>
              <a:latin typeface="Unity" panose="020B0505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486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>
            <a:extLst>
              <a:ext uri="{FF2B5EF4-FFF2-40B4-BE49-F238E27FC236}">
                <a16:creationId xmlns:a16="http://schemas.microsoft.com/office/drawing/2014/main" id="{786194F7-6D78-4D48-B313-A387AAD85C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926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87" name="Object 86" hidden="1">
                        <a:extLst>
                          <a:ext uri="{FF2B5EF4-FFF2-40B4-BE49-F238E27FC236}">
                            <a16:creationId xmlns:a16="http://schemas.microsoft.com/office/drawing/2014/main" id="{786194F7-6D78-4D48-B313-A387AAD85C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b="1" kern="0" dirty="0">
                <a:solidFill>
                  <a:srgbClr val="00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…Leading trades with sustained commercial programs to build consumer occasion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pic>
        <p:nvPicPr>
          <p:cNvPr id="134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52CFCF47-8A1C-4BE2-8312-315AE62CFBA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5179"/>
          <a:stretch/>
        </p:blipFill>
        <p:spPr>
          <a:xfrm>
            <a:off x="415657" y="2374129"/>
            <a:ext cx="2029744" cy="4029401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35" name="TextBox 134">
            <a:extLst>
              <a:ext uri="{FF2B5EF4-FFF2-40B4-BE49-F238E27FC236}">
                <a16:creationId xmlns:a16="http://schemas.microsoft.com/office/drawing/2014/main" id="{1A3790B4-7974-4B97-A732-FB2818E2C9FE}"/>
              </a:ext>
            </a:extLst>
          </p:cNvPr>
          <p:cNvSpPr txBox="1"/>
          <p:nvPr/>
        </p:nvSpPr>
        <p:spPr>
          <a:xfrm>
            <a:off x="476647" y="3790637"/>
            <a:ext cx="1372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Unity" panose="020B0505030303020204" pitchFamily="34" charset="0"/>
              </a:rPr>
              <a:t>Occasion </a:t>
            </a:r>
            <a:r>
              <a:rPr lang="en-US" sz="1600" b="1">
                <a:solidFill>
                  <a:schemeClr val="bg1"/>
                </a:solidFill>
                <a:latin typeface="Unity" panose="020B0505030303020204" pitchFamily="34" charset="0"/>
              </a:rPr>
              <a:t>based marketing</a:t>
            </a:r>
            <a:endParaRPr lang="en-US" sz="1600" b="1" dirty="0">
              <a:solidFill>
                <a:schemeClr val="bg1"/>
              </a:solidFill>
              <a:latin typeface="Unity" panose="020B0505030303020204" pitchFamily="34" charset="0"/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36BA78B1-D6C1-4CFA-858F-5B6D00E8823C}"/>
              </a:ext>
            </a:extLst>
          </p:cNvPr>
          <p:cNvGrpSpPr/>
          <p:nvPr/>
        </p:nvGrpSpPr>
        <p:grpSpPr>
          <a:xfrm>
            <a:off x="858595" y="1410751"/>
            <a:ext cx="10833364" cy="1006457"/>
            <a:chOff x="580726" y="855688"/>
            <a:chExt cx="10833364" cy="1006457"/>
          </a:xfrm>
        </p:grpSpPr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CFD9F660-92AF-48F9-A5B7-0F19BD4E8C29}"/>
                </a:ext>
              </a:extLst>
            </p:cNvPr>
            <p:cNvCxnSpPr/>
            <p:nvPr/>
          </p:nvCxnSpPr>
          <p:spPr bwMode="auto">
            <a:xfrm>
              <a:off x="1593571" y="1379240"/>
              <a:ext cx="9820519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40" name="Title 21">
              <a:extLst>
                <a:ext uri="{FF2B5EF4-FFF2-40B4-BE49-F238E27FC236}">
                  <a16:creationId xmlns:a16="http://schemas.microsoft.com/office/drawing/2014/main" id="{53DA0B19-A784-419F-AC82-5159205A41D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0726" y="1188740"/>
              <a:ext cx="1100095" cy="381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/>
              <a:r>
                <a:rPr lang="en-US" sz="1051" kern="0" dirty="0">
                  <a:solidFill>
                    <a:srgbClr val="FFFFFF"/>
                  </a:solidFill>
                  <a:latin typeface="Unity" panose="020B0505030303020204" pitchFamily="34" charset="0"/>
                  <a:sym typeface="Arial"/>
                </a:rPr>
                <a:t> </a:t>
              </a:r>
              <a:r>
                <a:rPr lang="en-US" sz="1051" kern="0" dirty="0">
                  <a:solidFill>
                    <a:srgbClr val="000000"/>
                  </a:solidFill>
                  <a:latin typeface="Unity" panose="020B0505030303020204" pitchFamily="34" charset="0"/>
                  <a:sym typeface="Arial"/>
                </a:rPr>
                <a:t>HORECA PUSH </a:t>
              </a:r>
              <a:r>
                <a:rPr lang="en-US" sz="1051" kern="0" dirty="0">
                  <a:solidFill>
                    <a:srgbClr val="000000"/>
                  </a:solidFill>
                  <a:latin typeface="Unity" panose="020B0505030303020204" pitchFamily="34" charset="0"/>
                  <a:sym typeface="Wingdings 3" panose="05040102010807070707" pitchFamily="18" charset="2"/>
                </a:rPr>
                <a:t></a:t>
              </a:r>
              <a:endParaRPr lang="en-US" sz="1051" kern="0" dirty="0">
                <a:solidFill>
                  <a:srgbClr val="000000"/>
                </a:solidFill>
                <a:latin typeface="Unity" panose="020B0505030303020204" pitchFamily="34" charset="0"/>
                <a:sym typeface="Arial"/>
              </a:endParaRPr>
            </a:p>
          </p:txBody>
        </p:sp>
        <p:sp>
          <p:nvSpPr>
            <p:cNvPr id="141" name="Title 1">
              <a:extLst>
                <a:ext uri="{FF2B5EF4-FFF2-40B4-BE49-F238E27FC236}">
                  <a16:creationId xmlns:a16="http://schemas.microsoft.com/office/drawing/2014/main" id="{BDB3E7EE-F03F-4E8A-9570-92F1FA8500B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747552" y="855688"/>
              <a:ext cx="42387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8oz.</a:t>
              </a:r>
            </a:p>
          </p:txBody>
        </p:sp>
        <p:sp>
          <p:nvSpPr>
            <p:cNvPr id="142" name="Title 1">
              <a:extLst>
                <a:ext uri="{FF2B5EF4-FFF2-40B4-BE49-F238E27FC236}">
                  <a16:creationId xmlns:a16="http://schemas.microsoft.com/office/drawing/2014/main" id="{BBBC6904-C463-4DCD-B88B-AF50715686F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618404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350ml</a:t>
              </a:r>
            </a:p>
          </p:txBody>
        </p:sp>
        <p:sp>
          <p:nvSpPr>
            <p:cNvPr id="143" name="Title 1">
              <a:extLst>
                <a:ext uri="{FF2B5EF4-FFF2-40B4-BE49-F238E27FC236}">
                  <a16:creationId xmlns:a16="http://schemas.microsoft.com/office/drawing/2014/main" id="{663F49FE-AEBC-4F1B-920D-808341F3641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656222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 Bares</a:t>
              </a:r>
            </a:p>
          </p:txBody>
        </p:sp>
        <p:sp>
          <p:nvSpPr>
            <p:cNvPr id="144" name="Title 1">
              <a:extLst>
                <a:ext uri="{FF2B5EF4-FFF2-40B4-BE49-F238E27FC236}">
                  <a16:creationId xmlns:a16="http://schemas.microsoft.com/office/drawing/2014/main" id="{A0917B93-AD37-40AE-AFD5-901D555D9A1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71362" y="855689"/>
              <a:ext cx="501704" cy="4190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Glass 2017</a:t>
              </a:r>
            </a:p>
          </p:txBody>
        </p:sp>
        <p:sp>
          <p:nvSpPr>
            <p:cNvPr id="145" name="Title 1">
              <a:extLst>
                <a:ext uri="{FF2B5EF4-FFF2-40B4-BE49-F238E27FC236}">
                  <a16:creationId xmlns:a16="http://schemas.microsoft.com/office/drawing/2014/main" id="{4B3EF241-1C12-412A-B83D-72704B41B14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295550" y="855688"/>
              <a:ext cx="42387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Segmen</a:t>
              </a:r>
              <a:endParaRPr lang="en-US" sz="8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46" name="Title 1">
              <a:extLst>
                <a:ext uri="{FF2B5EF4-FFF2-40B4-BE49-F238E27FC236}">
                  <a16:creationId xmlns:a16="http://schemas.microsoft.com/office/drawing/2014/main" id="{D64F1AA3-35D8-439E-A0B8-94E242DE1FB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132335" y="855688"/>
              <a:ext cx="50351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GB 300</a:t>
              </a:r>
            </a:p>
          </p:txBody>
        </p:sp>
        <p:sp>
          <p:nvSpPr>
            <p:cNvPr id="147" name="Title 1">
              <a:extLst>
                <a:ext uri="{FF2B5EF4-FFF2-40B4-BE49-F238E27FC236}">
                  <a16:creationId xmlns:a16="http://schemas.microsoft.com/office/drawing/2014/main" id="{3DBED7D7-6EAA-4D77-94F2-2112B1E19A9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172927" y="855688"/>
              <a:ext cx="52599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lega</a:t>
              </a: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Ella</a:t>
              </a:r>
            </a:p>
          </p:txBody>
        </p:sp>
        <p:sp>
          <p:nvSpPr>
            <p:cNvPr id="148" name="Title 1">
              <a:extLst>
                <a:ext uri="{FF2B5EF4-FFF2-40B4-BE49-F238E27FC236}">
                  <a16:creationId xmlns:a16="http://schemas.microsoft.com/office/drawing/2014/main" id="{364D6FD6-A91C-4BE7-83B2-869F91704D9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691246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TM</a:t>
              </a:r>
            </a:p>
          </p:txBody>
        </p:sp>
        <p:sp>
          <p:nvSpPr>
            <p:cNvPr id="149" name="Title 1">
              <a:extLst>
                <a:ext uri="{FF2B5EF4-FFF2-40B4-BE49-F238E27FC236}">
                  <a16:creationId xmlns:a16="http://schemas.microsoft.com/office/drawing/2014/main" id="{F165ECE1-C22C-4DC9-A5BD-47A1F7AA9E8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0769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 err="1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reciendo</a:t>
              </a:r>
              <a:endParaRPr lang="en-US" sz="800" kern="0" dirty="0">
                <a:solidFill>
                  <a:srgbClr val="CC0000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50" name="Title 1">
              <a:extLst>
                <a:ext uri="{FF2B5EF4-FFF2-40B4-BE49-F238E27FC236}">
                  <a16:creationId xmlns:a16="http://schemas.microsoft.com/office/drawing/2014/main" id="{4BCC7495-A62F-41BF-8AD4-D5E10250503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203774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R</a:t>
              </a:r>
            </a:p>
          </p:txBody>
        </p:sp>
        <p:sp>
          <p:nvSpPr>
            <p:cNvPr id="151" name="Title 1">
              <a:extLst>
                <a:ext uri="{FF2B5EF4-FFF2-40B4-BE49-F238E27FC236}">
                  <a16:creationId xmlns:a16="http://schemas.microsoft.com/office/drawing/2014/main" id="{A2F13B63-0005-4E0F-B62D-4D5697D6FFF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259026" y="855688"/>
              <a:ext cx="678242" cy="4762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Football</a:t>
              </a:r>
            </a:p>
          </p:txBody>
        </p:sp>
        <p:sp>
          <p:nvSpPr>
            <p:cNvPr id="152" name="Title 1">
              <a:extLst>
                <a:ext uri="{FF2B5EF4-FFF2-40B4-BE49-F238E27FC236}">
                  <a16:creationId xmlns:a16="http://schemas.microsoft.com/office/drawing/2014/main" id="{8AE2EF12-59C1-4931-8D21-BF98143B97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9751938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ix</a:t>
              </a:r>
            </a:p>
          </p:txBody>
        </p:sp>
        <p:sp>
          <p:nvSpPr>
            <p:cNvPr id="153" name="Title 1">
              <a:extLst>
                <a:ext uri="{FF2B5EF4-FFF2-40B4-BE49-F238E27FC236}">
                  <a16:creationId xmlns:a16="http://schemas.microsoft.com/office/drawing/2014/main" id="{D8E1D1BA-63DA-43E1-AA04-472D783EB91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74074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Digital </a:t>
              </a:r>
              <a:r>
                <a:rPr lang="en-US" sz="800" b="0" kern="0" dirty="0" err="1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Horeca</a:t>
              </a:r>
              <a:endParaRPr lang="en-US" sz="800" b="0" kern="0" dirty="0">
                <a:solidFill>
                  <a:srgbClr val="FFFFFF">
                    <a:lumMod val="50000"/>
                  </a:srgbClr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54" name="Title 1">
              <a:extLst>
                <a:ext uri="{FF2B5EF4-FFF2-40B4-BE49-F238E27FC236}">
                  <a16:creationId xmlns:a16="http://schemas.microsoft.com/office/drawing/2014/main" id="{00FD70A9-831C-45F3-9A1C-5B88DBCDFA1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711243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Euro16</a:t>
              </a:r>
            </a:p>
          </p:txBody>
        </p:sp>
        <p:sp>
          <p:nvSpPr>
            <p:cNvPr id="155" name="Title 1">
              <a:extLst>
                <a:ext uri="{FF2B5EF4-FFF2-40B4-BE49-F238E27FC236}">
                  <a16:creationId xmlns:a16="http://schemas.microsoft.com/office/drawing/2014/main" id="{D564B66D-FB79-4105-8BC1-8AD5FF343E5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727565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IMC17</a:t>
              </a:r>
            </a:p>
          </p:txBody>
        </p:sp>
        <p:sp>
          <p:nvSpPr>
            <p:cNvPr id="156" name="Title 1">
              <a:extLst>
                <a:ext uri="{FF2B5EF4-FFF2-40B4-BE49-F238E27FC236}">
                  <a16:creationId xmlns:a16="http://schemas.microsoft.com/office/drawing/2014/main" id="{0A221E20-F0C5-4E02-8E1B-C1D6B6D6D5D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69507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 err="1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&amp;Roll</a:t>
              </a:r>
              <a:endParaRPr lang="en-US" sz="800" kern="0" dirty="0">
                <a:solidFill>
                  <a:srgbClr val="CC0000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57" name="Title 1">
              <a:extLst>
                <a:ext uri="{FF2B5EF4-FFF2-40B4-BE49-F238E27FC236}">
                  <a16:creationId xmlns:a16="http://schemas.microsoft.com/office/drawing/2014/main" id="{9BF97104-A686-4DED-BE8D-ECAFEABA206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88307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DEs</a:t>
              </a:r>
            </a:p>
          </p:txBody>
        </p:sp>
        <p:sp>
          <p:nvSpPr>
            <p:cNvPr id="158" name="Title 1">
              <a:extLst>
                <a:ext uri="{FF2B5EF4-FFF2-40B4-BE49-F238E27FC236}">
                  <a16:creationId xmlns:a16="http://schemas.microsoft.com/office/drawing/2014/main" id="{8A0900A3-1B3C-42D1-93E5-BF24246DF8B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730010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kern="0" dirty="0">
                  <a:solidFill>
                    <a:srgbClr val="CC0000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eals</a:t>
              </a:r>
            </a:p>
          </p:txBody>
        </p:sp>
        <p:sp>
          <p:nvSpPr>
            <p:cNvPr id="159" name="Title 1">
              <a:extLst>
                <a:ext uri="{FF2B5EF4-FFF2-40B4-BE49-F238E27FC236}">
                  <a16:creationId xmlns:a16="http://schemas.microsoft.com/office/drawing/2014/main" id="{7FB4E7A8-326A-4620-A46F-150CCBB5C14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60961" y="855688"/>
              <a:ext cx="536839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US" sz="800" b="0" kern="0" dirty="0">
                  <a:solidFill>
                    <a:srgbClr val="FFFFFF">
                      <a:lumMod val="50000"/>
                    </a:srgbClr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Bartender</a:t>
              </a:r>
            </a:p>
          </p:txBody>
        </p:sp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C9747A06-408A-43B9-8B98-FEEB58A65FF6}"/>
                </a:ext>
              </a:extLst>
            </p:cNvPr>
            <p:cNvGrpSpPr/>
            <p:nvPr/>
          </p:nvGrpSpPr>
          <p:grpSpPr>
            <a:xfrm>
              <a:off x="1778720" y="1282737"/>
              <a:ext cx="182880" cy="182880"/>
              <a:chOff x="1765877" y="1239020"/>
              <a:chExt cx="182880" cy="182880"/>
            </a:xfrm>
          </p:grpSpPr>
          <p:sp>
            <p:nvSpPr>
              <p:cNvPr id="218" name="Oval 217">
                <a:extLst>
                  <a:ext uri="{FF2B5EF4-FFF2-40B4-BE49-F238E27FC236}">
                    <a16:creationId xmlns:a16="http://schemas.microsoft.com/office/drawing/2014/main" id="{F26CBE7E-67E7-4B92-BF30-8E5E9C656D3F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083D9CCE-DD0E-4AA4-BF02-DFC629F33F36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EAF67CBA-BEB3-4326-BDA8-1A8A35ADFE17}"/>
                </a:ext>
              </a:extLst>
            </p:cNvPr>
            <p:cNvGrpSpPr/>
            <p:nvPr/>
          </p:nvGrpSpPr>
          <p:grpSpPr>
            <a:xfrm>
              <a:off x="5824144" y="1282737"/>
              <a:ext cx="182880" cy="182880"/>
              <a:chOff x="1765877" y="1239020"/>
              <a:chExt cx="182880" cy="182880"/>
            </a:xfrm>
          </p:grpSpPr>
          <p:sp>
            <p:nvSpPr>
              <p:cNvPr id="216" name="Oval 215">
                <a:extLst>
                  <a:ext uri="{FF2B5EF4-FFF2-40B4-BE49-F238E27FC236}">
                    <a16:creationId xmlns:a16="http://schemas.microsoft.com/office/drawing/2014/main" id="{A80AB35C-B194-4984-BEFB-DC6611A249E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CA7BC8A2-98FB-42CD-A95C-354DDB625E69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388241BA-0D01-481C-907D-D94B83A11183}"/>
                </a:ext>
              </a:extLst>
            </p:cNvPr>
            <p:cNvGrpSpPr/>
            <p:nvPr/>
          </p:nvGrpSpPr>
          <p:grpSpPr>
            <a:xfrm>
              <a:off x="6835500" y="1282737"/>
              <a:ext cx="182880" cy="182880"/>
              <a:chOff x="1765877" y="1239020"/>
              <a:chExt cx="182880" cy="18288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852A18FB-BD2A-4D32-B4FE-92E2404ED3E4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3357C1E4-9D77-4E2C-869B-CACB925A0CF8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5EFCBB2E-FCFD-452B-B8B7-A2F490274744}"/>
                </a:ext>
              </a:extLst>
            </p:cNvPr>
            <p:cNvGrpSpPr/>
            <p:nvPr/>
          </p:nvGrpSpPr>
          <p:grpSpPr>
            <a:xfrm>
              <a:off x="7341179" y="1282737"/>
              <a:ext cx="182880" cy="182880"/>
              <a:chOff x="1765877" y="1239020"/>
              <a:chExt cx="182880" cy="18288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9978CC7A-3334-4C69-97F7-8CB5B4C38E39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608941E6-4233-46E3-B81C-ADD4670C65A9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1C3B4B76-2F43-4688-8A46-10086A35E27A}"/>
                </a:ext>
              </a:extLst>
            </p:cNvPr>
            <p:cNvGrpSpPr/>
            <p:nvPr/>
          </p:nvGrpSpPr>
          <p:grpSpPr>
            <a:xfrm>
              <a:off x="8352535" y="1282737"/>
              <a:ext cx="182880" cy="182880"/>
              <a:chOff x="1765877" y="1239020"/>
              <a:chExt cx="182880" cy="18288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43B68CBC-5CD7-4E62-BF9F-4E63735CF1A1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C723054-77D0-4CD1-89F1-940667992486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14E532E7-745E-4823-AE86-957FB302B261}"/>
                </a:ext>
              </a:extLst>
            </p:cNvPr>
            <p:cNvGrpSpPr/>
            <p:nvPr/>
          </p:nvGrpSpPr>
          <p:grpSpPr>
            <a:xfrm>
              <a:off x="9363891" y="1282737"/>
              <a:ext cx="182880" cy="182880"/>
              <a:chOff x="1765877" y="1239020"/>
              <a:chExt cx="182880" cy="18288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88A5E444-331E-4CB8-A98E-B1469429865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5E1B98ED-2390-48E9-9824-35E19F3935EE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94513444-1ACA-40CD-A0FE-B802388FE3EF}"/>
                </a:ext>
              </a:extLst>
            </p:cNvPr>
            <p:cNvGrpSpPr/>
            <p:nvPr/>
          </p:nvGrpSpPr>
          <p:grpSpPr>
            <a:xfrm>
              <a:off x="7846856" y="1282737"/>
              <a:ext cx="182880" cy="182880"/>
              <a:chOff x="1765877" y="1239020"/>
              <a:chExt cx="182880" cy="18288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C061FAB6-F09B-489F-8360-E7A99D20DF13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07" name="Oval 206">
                <a:extLst>
                  <a:ext uri="{FF2B5EF4-FFF2-40B4-BE49-F238E27FC236}">
                    <a16:creationId xmlns:a16="http://schemas.microsoft.com/office/drawing/2014/main" id="{5ED33411-0BFD-4252-BD89-488E33F25CA5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34FBC06B-6525-47BB-8BF7-0F4643CA950A}"/>
                </a:ext>
              </a:extLst>
            </p:cNvPr>
            <p:cNvGrpSpPr/>
            <p:nvPr/>
          </p:nvGrpSpPr>
          <p:grpSpPr>
            <a:xfrm>
              <a:off x="8858212" y="1282737"/>
              <a:ext cx="182880" cy="182880"/>
              <a:chOff x="1765877" y="1239020"/>
              <a:chExt cx="182880" cy="182880"/>
            </a:xfrm>
          </p:grpSpPr>
          <p:sp>
            <p:nvSpPr>
              <p:cNvPr id="204" name="Oval 203">
                <a:extLst>
                  <a:ext uri="{FF2B5EF4-FFF2-40B4-BE49-F238E27FC236}">
                    <a16:creationId xmlns:a16="http://schemas.microsoft.com/office/drawing/2014/main" id="{7BA20194-6FBD-42D8-8710-5B7B3C03C7D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05" name="Oval 204">
                <a:extLst>
                  <a:ext uri="{FF2B5EF4-FFF2-40B4-BE49-F238E27FC236}">
                    <a16:creationId xmlns:a16="http://schemas.microsoft.com/office/drawing/2014/main" id="{8B380E99-95C1-4AC8-963D-0E2541512AC8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99C44783-39C1-43B0-8547-35BF9D44AE40}"/>
                </a:ext>
              </a:extLst>
            </p:cNvPr>
            <p:cNvGrpSpPr/>
            <p:nvPr/>
          </p:nvGrpSpPr>
          <p:grpSpPr>
            <a:xfrm>
              <a:off x="9869568" y="1282737"/>
              <a:ext cx="182880" cy="182880"/>
              <a:chOff x="1765877" y="1239020"/>
              <a:chExt cx="182880" cy="182880"/>
            </a:xfrm>
          </p:grpSpPr>
          <p:sp>
            <p:nvSpPr>
              <p:cNvPr id="202" name="Oval 201">
                <a:extLst>
                  <a:ext uri="{FF2B5EF4-FFF2-40B4-BE49-F238E27FC236}">
                    <a16:creationId xmlns:a16="http://schemas.microsoft.com/office/drawing/2014/main" id="{A2713112-B565-42F5-A367-374C554E6C1F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03" name="Oval 202">
                <a:extLst>
                  <a:ext uri="{FF2B5EF4-FFF2-40B4-BE49-F238E27FC236}">
                    <a16:creationId xmlns:a16="http://schemas.microsoft.com/office/drawing/2014/main" id="{E88F46DF-37BB-467F-AB86-7FC821074DC5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0251C32E-A8BC-434E-98B9-C85CE11BBFFC}"/>
                </a:ext>
              </a:extLst>
            </p:cNvPr>
            <p:cNvGrpSpPr/>
            <p:nvPr/>
          </p:nvGrpSpPr>
          <p:grpSpPr>
            <a:xfrm>
              <a:off x="10375247" y="1282737"/>
              <a:ext cx="182880" cy="182880"/>
              <a:chOff x="1765877" y="1239020"/>
              <a:chExt cx="182880" cy="182880"/>
            </a:xfrm>
          </p:grpSpPr>
          <p:sp>
            <p:nvSpPr>
              <p:cNvPr id="200" name="Oval 199">
                <a:extLst>
                  <a:ext uri="{FF2B5EF4-FFF2-40B4-BE49-F238E27FC236}">
                    <a16:creationId xmlns:a16="http://schemas.microsoft.com/office/drawing/2014/main" id="{7E0CC1E4-BE80-44B7-A1E7-0B4FA19BF0B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201" name="Oval 200">
                <a:extLst>
                  <a:ext uri="{FF2B5EF4-FFF2-40B4-BE49-F238E27FC236}">
                    <a16:creationId xmlns:a16="http://schemas.microsoft.com/office/drawing/2014/main" id="{DC14247B-7178-4A81-AC61-56A7845A6924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8FA54CA6-FA1E-4F43-84D4-6D5BAEA8D9E8}"/>
                </a:ext>
              </a:extLst>
            </p:cNvPr>
            <p:cNvGrpSpPr/>
            <p:nvPr/>
          </p:nvGrpSpPr>
          <p:grpSpPr>
            <a:xfrm>
              <a:off x="10880919" y="1282737"/>
              <a:ext cx="182880" cy="182880"/>
              <a:chOff x="1765877" y="1239020"/>
              <a:chExt cx="182880" cy="182880"/>
            </a:xfrm>
          </p:grpSpPr>
          <p:sp>
            <p:nvSpPr>
              <p:cNvPr id="198" name="Oval 197">
                <a:extLst>
                  <a:ext uri="{FF2B5EF4-FFF2-40B4-BE49-F238E27FC236}">
                    <a16:creationId xmlns:a16="http://schemas.microsoft.com/office/drawing/2014/main" id="{EC816FBB-DACA-465F-B201-93999E177E68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59394646-2087-40B0-91E3-802023F616CB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0B000602-1BDF-4553-BB24-09A0BEC39C7C}"/>
                </a:ext>
              </a:extLst>
            </p:cNvPr>
            <p:cNvGrpSpPr/>
            <p:nvPr/>
          </p:nvGrpSpPr>
          <p:grpSpPr>
            <a:xfrm>
              <a:off x="2790076" y="1282737"/>
              <a:ext cx="182880" cy="182880"/>
              <a:chOff x="1765877" y="1239020"/>
              <a:chExt cx="182880" cy="182880"/>
            </a:xfrm>
          </p:grpSpPr>
          <p:sp>
            <p:nvSpPr>
              <p:cNvPr id="196" name="Oval 195">
                <a:extLst>
                  <a:ext uri="{FF2B5EF4-FFF2-40B4-BE49-F238E27FC236}">
                    <a16:creationId xmlns:a16="http://schemas.microsoft.com/office/drawing/2014/main" id="{3424C82F-B0F2-4743-B6C1-8ACA96ED9C0A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BF577AB9-DF72-47A6-8831-9454012D4D8F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3143DB2A-F0B4-44B0-86D1-BE79C88FBFAC}"/>
                </a:ext>
              </a:extLst>
            </p:cNvPr>
            <p:cNvGrpSpPr/>
            <p:nvPr/>
          </p:nvGrpSpPr>
          <p:grpSpPr>
            <a:xfrm>
              <a:off x="2284399" y="1282737"/>
              <a:ext cx="182880" cy="182880"/>
              <a:chOff x="1765877" y="1239020"/>
              <a:chExt cx="182880" cy="182880"/>
            </a:xfrm>
          </p:grpSpPr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E4F9EA51-3E6B-42C0-B7E3-C8C8EDA3A6F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95" name="Oval 194">
                <a:extLst>
                  <a:ext uri="{FF2B5EF4-FFF2-40B4-BE49-F238E27FC236}">
                    <a16:creationId xmlns:a16="http://schemas.microsoft.com/office/drawing/2014/main" id="{39BACECA-B6BC-470B-AD22-2E37D87B0C38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824E41D7-405C-4727-B78D-2407055D8E77}"/>
                </a:ext>
              </a:extLst>
            </p:cNvPr>
            <p:cNvGrpSpPr/>
            <p:nvPr/>
          </p:nvGrpSpPr>
          <p:grpSpPr>
            <a:xfrm>
              <a:off x="3295755" y="1282737"/>
              <a:ext cx="182880" cy="182880"/>
              <a:chOff x="1765877" y="1239020"/>
              <a:chExt cx="182880" cy="182880"/>
            </a:xfrm>
          </p:grpSpPr>
          <p:sp>
            <p:nvSpPr>
              <p:cNvPr id="192" name="Oval 191">
                <a:extLst>
                  <a:ext uri="{FF2B5EF4-FFF2-40B4-BE49-F238E27FC236}">
                    <a16:creationId xmlns:a16="http://schemas.microsoft.com/office/drawing/2014/main" id="{F94A4065-A283-45CC-9C70-138E0A009225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4DA244FB-FF1B-4717-B2E3-ACAF12330E6E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EF441A63-73A7-49D8-899E-A63EB3C47B71}"/>
                </a:ext>
              </a:extLst>
            </p:cNvPr>
            <p:cNvGrpSpPr/>
            <p:nvPr/>
          </p:nvGrpSpPr>
          <p:grpSpPr>
            <a:xfrm>
              <a:off x="4307111" y="1282737"/>
              <a:ext cx="182880" cy="182880"/>
              <a:chOff x="1765877" y="1239020"/>
              <a:chExt cx="182880" cy="182880"/>
            </a:xfrm>
          </p:grpSpPr>
          <p:sp>
            <p:nvSpPr>
              <p:cNvPr id="190" name="Oval 189">
                <a:extLst>
                  <a:ext uri="{FF2B5EF4-FFF2-40B4-BE49-F238E27FC236}">
                    <a16:creationId xmlns:a16="http://schemas.microsoft.com/office/drawing/2014/main" id="{9EC57D0B-8981-4244-BB19-C5AC2D3CE64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9CE88ACE-D8D1-419F-B433-086F1F8D9EB3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5" name="Group 174">
              <a:extLst>
                <a:ext uri="{FF2B5EF4-FFF2-40B4-BE49-F238E27FC236}">
                  <a16:creationId xmlns:a16="http://schemas.microsoft.com/office/drawing/2014/main" id="{248E0D41-F8D5-4EFF-9979-69E88F5C3702}"/>
                </a:ext>
              </a:extLst>
            </p:cNvPr>
            <p:cNvGrpSpPr/>
            <p:nvPr/>
          </p:nvGrpSpPr>
          <p:grpSpPr>
            <a:xfrm>
              <a:off x="3801432" y="1282737"/>
              <a:ext cx="182880" cy="182880"/>
              <a:chOff x="1765877" y="1239020"/>
              <a:chExt cx="182880" cy="182880"/>
            </a:xfrm>
          </p:grpSpPr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972D6086-CE7F-4917-9971-AC99F33306B8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5D222C58-C578-45C8-BFCE-EF7938DCE641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15F8B37C-6062-4F1B-9C24-653DD3AFA869}"/>
                </a:ext>
              </a:extLst>
            </p:cNvPr>
            <p:cNvGrpSpPr/>
            <p:nvPr/>
          </p:nvGrpSpPr>
          <p:grpSpPr>
            <a:xfrm>
              <a:off x="4812788" y="1282737"/>
              <a:ext cx="182880" cy="182880"/>
              <a:chOff x="1765877" y="1239020"/>
              <a:chExt cx="182880" cy="182880"/>
            </a:xfrm>
          </p:grpSpPr>
          <p:sp>
            <p:nvSpPr>
              <p:cNvPr id="186" name="Oval 185">
                <a:extLst>
                  <a:ext uri="{FF2B5EF4-FFF2-40B4-BE49-F238E27FC236}">
                    <a16:creationId xmlns:a16="http://schemas.microsoft.com/office/drawing/2014/main" id="{915D4B53-8511-4ED6-88B2-5F6ADE279490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chemeClr val="tx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C44F1320-FC5C-46FA-BCCA-DB8C36619B2D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95C8B1AE-9198-4E97-B4AA-17393E73BDCA}"/>
                </a:ext>
              </a:extLst>
            </p:cNvPr>
            <p:cNvGrpSpPr/>
            <p:nvPr/>
          </p:nvGrpSpPr>
          <p:grpSpPr>
            <a:xfrm>
              <a:off x="5318467" y="1282737"/>
              <a:ext cx="182880" cy="182880"/>
              <a:chOff x="1765877" y="1239020"/>
              <a:chExt cx="182880" cy="182880"/>
            </a:xfrm>
          </p:grpSpPr>
          <p:sp>
            <p:nvSpPr>
              <p:cNvPr id="184" name="Oval 183">
                <a:extLst>
                  <a:ext uri="{FF2B5EF4-FFF2-40B4-BE49-F238E27FC236}">
                    <a16:creationId xmlns:a16="http://schemas.microsoft.com/office/drawing/2014/main" id="{3ABCF364-CB99-4B50-B3BE-7E571A5D4C64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85" name="Oval 184">
                <a:extLst>
                  <a:ext uri="{FF2B5EF4-FFF2-40B4-BE49-F238E27FC236}">
                    <a16:creationId xmlns:a16="http://schemas.microsoft.com/office/drawing/2014/main" id="{2BC1B9C2-99BC-4FCD-88D7-658FBAC20B27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grpSp>
          <p:nvGrpSpPr>
            <p:cNvPr id="178" name="Group 177">
              <a:extLst>
                <a:ext uri="{FF2B5EF4-FFF2-40B4-BE49-F238E27FC236}">
                  <a16:creationId xmlns:a16="http://schemas.microsoft.com/office/drawing/2014/main" id="{6880E2B5-DF03-46BD-8336-36DB419B1C94}"/>
                </a:ext>
              </a:extLst>
            </p:cNvPr>
            <p:cNvGrpSpPr/>
            <p:nvPr/>
          </p:nvGrpSpPr>
          <p:grpSpPr>
            <a:xfrm>
              <a:off x="6329823" y="1282737"/>
              <a:ext cx="182880" cy="182880"/>
              <a:chOff x="1765877" y="1239020"/>
              <a:chExt cx="182880" cy="182880"/>
            </a:xfrm>
          </p:grpSpPr>
          <p:sp>
            <p:nvSpPr>
              <p:cNvPr id="182" name="Oval 181">
                <a:extLst>
                  <a:ext uri="{FF2B5EF4-FFF2-40B4-BE49-F238E27FC236}">
                    <a16:creationId xmlns:a16="http://schemas.microsoft.com/office/drawing/2014/main" id="{40CD67F1-2832-45BC-8428-7D5C43C608FB}"/>
                  </a:ext>
                </a:extLst>
              </p:cNvPr>
              <p:cNvSpPr/>
              <p:nvPr/>
            </p:nvSpPr>
            <p:spPr bwMode="auto">
              <a:xfrm>
                <a:off x="1765877" y="1239020"/>
                <a:ext cx="182880" cy="182880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5F8242BB-F583-46F1-8F0E-B592F61F5F45}"/>
                  </a:ext>
                </a:extLst>
              </p:cNvPr>
              <p:cNvSpPr/>
              <p:nvPr/>
            </p:nvSpPr>
            <p:spPr bwMode="auto">
              <a:xfrm>
                <a:off x="1820741" y="1293884"/>
                <a:ext cx="73152" cy="73152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914377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srgbClr val="000000"/>
                  </a:solidFill>
                  <a:latin typeface="Unity" panose="020B0505030303020204" pitchFamily="34" charset="0"/>
                  <a:ea typeface="ＭＳ Ｐゴシック" pitchFamily="1" charset="-128"/>
                  <a:cs typeface="ＭＳ Ｐゴシック" pitchFamily="1" charset="-128"/>
                  <a:sym typeface="Arial"/>
                </a:endParaRPr>
              </a:p>
            </p:txBody>
          </p:sp>
        </p:grpSp>
        <p:sp>
          <p:nvSpPr>
            <p:cNvPr id="179" name="Title 21">
              <a:extLst>
                <a:ext uri="{FF2B5EF4-FFF2-40B4-BE49-F238E27FC236}">
                  <a16:creationId xmlns:a16="http://schemas.microsoft.com/office/drawing/2014/main" id="{FCC851BF-69E5-46BD-9BF7-4A05272E2B5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878809" y="1372763"/>
              <a:ext cx="2278161" cy="4549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/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+4.200 outlets Blackboards*</a:t>
              </a:r>
            </a:p>
            <a:p>
              <a:pPr algn="ctr" defTabSz="914377"/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3.300 custom w/ Combos 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Webdings" panose="05030102010509060703" pitchFamily="18" charset="2"/>
                </a:rPr>
                <a:t>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 </a:t>
              </a:r>
            </a:p>
          </p:txBody>
        </p:sp>
        <p:sp>
          <p:nvSpPr>
            <p:cNvPr id="180" name="Title 21">
              <a:extLst>
                <a:ext uri="{FF2B5EF4-FFF2-40B4-BE49-F238E27FC236}">
                  <a16:creationId xmlns:a16="http://schemas.microsoft.com/office/drawing/2014/main" id="{6DF6E72F-F0B6-47C5-B9F7-9A45DAACC8A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910987" y="1523557"/>
              <a:ext cx="1824539" cy="338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defTabSz="914377"/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+220 outlets* 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Webdings" panose="05030102010509060703" pitchFamily="18" charset="2"/>
                </a:rPr>
                <a:t>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 </a:t>
              </a:r>
            </a:p>
          </p:txBody>
        </p:sp>
        <p:sp>
          <p:nvSpPr>
            <p:cNvPr id="181" name="Title 21">
              <a:extLst>
                <a:ext uri="{FF2B5EF4-FFF2-40B4-BE49-F238E27FC236}">
                  <a16:creationId xmlns:a16="http://schemas.microsoft.com/office/drawing/2014/main" id="{0E2BEC35-C4A2-4891-9AC2-541BFD3C9DB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010441" y="1523558"/>
              <a:ext cx="1824539" cy="338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defTabSz="914377"/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+10.000 outlets 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Webdings" panose="05030102010509060703" pitchFamily="18" charset="2"/>
                </a:rPr>
                <a:t></a:t>
              </a:r>
              <a:r>
                <a:rPr lang="en-US" sz="1051" kern="0" dirty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 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FE0DC28-7AB3-42B2-AF7C-EB6B7CE15E4B}"/>
              </a:ext>
            </a:extLst>
          </p:cNvPr>
          <p:cNvGrpSpPr/>
          <p:nvPr/>
        </p:nvGrpSpPr>
        <p:grpSpPr>
          <a:xfrm>
            <a:off x="2242370" y="2344956"/>
            <a:ext cx="9832750" cy="4293686"/>
            <a:chOff x="2242370" y="2188146"/>
            <a:chExt cx="9832750" cy="4723053"/>
          </a:xfrm>
        </p:grpSpPr>
        <p:sp>
          <p:nvSpPr>
            <p:cNvPr id="291" name="Rectangle 290">
              <a:extLst>
                <a:ext uri="{FF2B5EF4-FFF2-40B4-BE49-F238E27FC236}">
                  <a16:creationId xmlns:a16="http://schemas.microsoft.com/office/drawing/2014/main" id="{CD7325D4-5FFD-4169-8913-FE56CF06C785}"/>
                </a:ext>
              </a:extLst>
            </p:cNvPr>
            <p:cNvSpPr/>
            <p:nvPr/>
          </p:nvSpPr>
          <p:spPr>
            <a:xfrm>
              <a:off x="6318416" y="2502254"/>
              <a:ext cx="1709451" cy="1409892"/>
            </a:xfrm>
            <a:prstGeom prst="rect">
              <a:avLst/>
            </a:prstGeom>
            <a:solidFill>
              <a:schemeClr val="accent6">
                <a:lumMod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sz="320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sp>
          <p:nvSpPr>
            <p:cNvPr id="292" name="Pentagon 272">
              <a:extLst>
                <a:ext uri="{FF2B5EF4-FFF2-40B4-BE49-F238E27FC236}">
                  <a16:creationId xmlns:a16="http://schemas.microsoft.com/office/drawing/2014/main" id="{406BB314-4DFF-4921-99D6-97939CF3C1CE}"/>
                </a:ext>
              </a:extLst>
            </p:cNvPr>
            <p:cNvSpPr/>
            <p:nvPr/>
          </p:nvSpPr>
          <p:spPr bwMode="auto">
            <a:xfrm>
              <a:off x="2250287" y="3962300"/>
              <a:ext cx="1859519" cy="383140"/>
            </a:xfrm>
            <a:prstGeom prst="homePlate">
              <a:avLst>
                <a:gd name="adj" fmla="val 0"/>
              </a:avLst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3" name="Pentagon 273">
              <a:extLst>
                <a:ext uri="{FF2B5EF4-FFF2-40B4-BE49-F238E27FC236}">
                  <a16:creationId xmlns:a16="http://schemas.microsoft.com/office/drawing/2014/main" id="{F8303F6A-97C9-4936-B317-8102684B25AB}"/>
                </a:ext>
              </a:extLst>
            </p:cNvPr>
            <p:cNvSpPr/>
            <p:nvPr/>
          </p:nvSpPr>
          <p:spPr bwMode="auto">
            <a:xfrm>
              <a:off x="4247786" y="3962300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4" name="Pentagon 274">
              <a:extLst>
                <a:ext uri="{FF2B5EF4-FFF2-40B4-BE49-F238E27FC236}">
                  <a16:creationId xmlns:a16="http://schemas.microsoft.com/office/drawing/2014/main" id="{3806EC4F-7970-48D9-BA40-21A460411DD7}"/>
                </a:ext>
              </a:extLst>
            </p:cNvPr>
            <p:cNvSpPr/>
            <p:nvPr/>
          </p:nvSpPr>
          <p:spPr bwMode="auto">
            <a:xfrm>
              <a:off x="6232949" y="3962300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5" name="Pentagon 275">
              <a:extLst>
                <a:ext uri="{FF2B5EF4-FFF2-40B4-BE49-F238E27FC236}">
                  <a16:creationId xmlns:a16="http://schemas.microsoft.com/office/drawing/2014/main" id="{352F7970-35DE-48CB-A313-3B598C46FC7A}"/>
                </a:ext>
              </a:extLst>
            </p:cNvPr>
            <p:cNvSpPr/>
            <p:nvPr/>
          </p:nvSpPr>
          <p:spPr bwMode="auto">
            <a:xfrm>
              <a:off x="8215889" y="392620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6" name="Pentagon 276">
              <a:extLst>
                <a:ext uri="{FF2B5EF4-FFF2-40B4-BE49-F238E27FC236}">
                  <a16:creationId xmlns:a16="http://schemas.microsoft.com/office/drawing/2014/main" id="{81598780-1B26-4303-8EB1-F182C655B1F5}"/>
                </a:ext>
              </a:extLst>
            </p:cNvPr>
            <p:cNvSpPr/>
            <p:nvPr/>
          </p:nvSpPr>
          <p:spPr bwMode="auto">
            <a:xfrm>
              <a:off x="10128055" y="392620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7" name="Rectangle 296">
              <a:extLst>
                <a:ext uri="{FF2B5EF4-FFF2-40B4-BE49-F238E27FC236}">
                  <a16:creationId xmlns:a16="http://schemas.microsoft.com/office/drawing/2014/main" id="{A82014AB-5BF2-4A89-B649-55D321DD1501}"/>
                </a:ext>
              </a:extLst>
            </p:cNvPr>
            <p:cNvSpPr/>
            <p:nvPr/>
          </p:nvSpPr>
          <p:spPr bwMode="auto">
            <a:xfrm>
              <a:off x="2242370" y="2233387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298" name="Title 1">
              <a:extLst>
                <a:ext uri="{FF2B5EF4-FFF2-40B4-BE49-F238E27FC236}">
                  <a16:creationId xmlns:a16="http://schemas.microsoft.com/office/drawing/2014/main" id="{0BDDFA52-E708-4253-A6B4-3C93D96D371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68697" y="2213446"/>
              <a:ext cx="93924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5- 2019</a:t>
              </a:r>
            </a:p>
          </p:txBody>
        </p:sp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ACEF6D36-EDFA-4294-9972-8EB1CA37158E}"/>
                </a:ext>
              </a:extLst>
            </p:cNvPr>
            <p:cNvSpPr/>
            <p:nvPr/>
          </p:nvSpPr>
          <p:spPr bwMode="auto">
            <a:xfrm>
              <a:off x="4230795" y="2233387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00" name="Title 1">
              <a:extLst>
                <a:ext uri="{FF2B5EF4-FFF2-40B4-BE49-F238E27FC236}">
                  <a16:creationId xmlns:a16="http://schemas.microsoft.com/office/drawing/2014/main" id="{93A7A4A2-6584-4061-A494-6B81032497F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52215" y="3971997"/>
              <a:ext cx="1827085" cy="369124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Customer Loyalty Program</a:t>
              </a:r>
            </a:p>
          </p:txBody>
        </p:sp>
        <p:sp>
          <p:nvSpPr>
            <p:cNvPr id="301" name="Title 1">
              <a:extLst>
                <a:ext uri="{FF2B5EF4-FFF2-40B4-BE49-F238E27FC236}">
                  <a16:creationId xmlns:a16="http://schemas.microsoft.com/office/drawing/2014/main" id="{D9532ECA-007A-4CD8-AE1D-B38C8FD240A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352881" y="2188146"/>
              <a:ext cx="93127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5-Today</a:t>
              </a:r>
            </a:p>
          </p:txBody>
        </p:sp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7853F538-34DC-4D58-AACE-DD83FEC376E7}"/>
                </a:ext>
              </a:extLst>
            </p:cNvPr>
            <p:cNvSpPr/>
            <p:nvPr/>
          </p:nvSpPr>
          <p:spPr bwMode="auto">
            <a:xfrm>
              <a:off x="6219222" y="2233387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03" name="Title 1">
              <a:extLst>
                <a:ext uri="{FF2B5EF4-FFF2-40B4-BE49-F238E27FC236}">
                  <a16:creationId xmlns:a16="http://schemas.microsoft.com/office/drawing/2014/main" id="{A6FF7B14-31DE-4B39-BB78-3753C9E7C25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51906" y="3938273"/>
              <a:ext cx="1867436" cy="394371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Football Program</a:t>
              </a:r>
            </a:p>
          </p:txBody>
        </p:sp>
        <p:pic>
          <p:nvPicPr>
            <p:cNvPr id="304" name="Picture 303">
              <a:extLst>
                <a:ext uri="{FF2B5EF4-FFF2-40B4-BE49-F238E27FC236}">
                  <a16:creationId xmlns:a16="http://schemas.microsoft.com/office/drawing/2014/main" id="{A491B9E2-B727-4839-BB0C-65EB13B3DC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7500" t="33760" r="51518" b="18529"/>
            <a:stretch/>
          </p:blipFill>
          <p:spPr>
            <a:xfrm>
              <a:off x="2443115" y="2584986"/>
              <a:ext cx="1387596" cy="1201403"/>
            </a:xfrm>
            <a:prstGeom prst="rect">
              <a:avLst/>
            </a:prstGeom>
          </p:spPr>
        </p:pic>
        <p:sp>
          <p:nvSpPr>
            <p:cNvPr id="305" name="Title 1">
              <a:extLst>
                <a:ext uri="{FF2B5EF4-FFF2-40B4-BE49-F238E27FC236}">
                  <a16:creationId xmlns:a16="http://schemas.microsoft.com/office/drawing/2014/main" id="{662769AC-1D92-4833-8239-3CC730FFD44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30029" y="3930851"/>
              <a:ext cx="1873886" cy="416618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ixability</a:t>
              </a: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Program</a:t>
              </a:r>
            </a:p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(Activation Program)</a:t>
              </a:r>
            </a:p>
          </p:txBody>
        </p:sp>
        <p:sp>
          <p:nvSpPr>
            <p:cNvPr id="306" name="Rectangle 305">
              <a:extLst>
                <a:ext uri="{FF2B5EF4-FFF2-40B4-BE49-F238E27FC236}">
                  <a16:creationId xmlns:a16="http://schemas.microsoft.com/office/drawing/2014/main" id="{A285B9F7-F42C-446E-A965-E1E5A1494BBF}"/>
                </a:ext>
              </a:extLst>
            </p:cNvPr>
            <p:cNvSpPr/>
            <p:nvPr/>
          </p:nvSpPr>
          <p:spPr bwMode="auto">
            <a:xfrm>
              <a:off x="8207647" y="2214875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07" name="Title 1">
              <a:extLst>
                <a:ext uri="{FF2B5EF4-FFF2-40B4-BE49-F238E27FC236}">
                  <a16:creationId xmlns:a16="http://schemas.microsoft.com/office/drawing/2014/main" id="{EBBF7F42-AFF1-47D1-839A-693BBC3778BF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11560" y="3907444"/>
              <a:ext cx="1898126" cy="401900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Meals</a:t>
              </a:r>
            </a:p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(Activation Program)</a:t>
              </a:r>
            </a:p>
          </p:txBody>
        </p:sp>
        <p:pic>
          <p:nvPicPr>
            <p:cNvPr id="308" name="Picture 2" descr="image001">
              <a:extLst>
                <a:ext uri="{FF2B5EF4-FFF2-40B4-BE49-F238E27FC236}">
                  <a16:creationId xmlns:a16="http://schemas.microsoft.com/office/drawing/2014/main" id="{A25F89BA-4E09-4111-A80C-13BC36A887C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39" t="1337" r="16877" b="22231"/>
            <a:stretch/>
          </p:blipFill>
          <p:spPr bwMode="auto">
            <a:xfrm>
              <a:off x="8806251" y="2188146"/>
              <a:ext cx="1192740" cy="1010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9" name="Rectangle 308">
              <a:extLst>
                <a:ext uri="{FF2B5EF4-FFF2-40B4-BE49-F238E27FC236}">
                  <a16:creationId xmlns:a16="http://schemas.microsoft.com/office/drawing/2014/main" id="{15F3DCEF-0BB3-413C-BCDD-84A991F8DC50}"/>
                </a:ext>
              </a:extLst>
            </p:cNvPr>
            <p:cNvSpPr/>
            <p:nvPr/>
          </p:nvSpPr>
          <p:spPr bwMode="auto">
            <a:xfrm>
              <a:off x="10115809" y="2214154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10" name="Title 1">
              <a:extLst>
                <a:ext uri="{FF2B5EF4-FFF2-40B4-BE49-F238E27FC236}">
                  <a16:creationId xmlns:a16="http://schemas.microsoft.com/office/drawing/2014/main" id="{7CBC8074-8B97-415B-B636-864D5E3F8D8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116135" y="3925333"/>
              <a:ext cx="1867110" cy="383140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DEs</a:t>
              </a:r>
            </a:p>
          </p:txBody>
        </p:sp>
        <p:sp>
          <p:nvSpPr>
            <p:cNvPr id="311" name="Rounded Rectangle 267">
              <a:extLst>
                <a:ext uri="{FF2B5EF4-FFF2-40B4-BE49-F238E27FC236}">
                  <a16:creationId xmlns:a16="http://schemas.microsoft.com/office/drawing/2014/main" id="{4BCB43E2-DD78-45B3-8CB3-5D242D98B02B}"/>
                </a:ext>
              </a:extLst>
            </p:cNvPr>
            <p:cNvSpPr/>
            <p:nvPr/>
          </p:nvSpPr>
          <p:spPr bwMode="auto">
            <a:xfrm>
              <a:off x="10314931" y="2522625"/>
              <a:ext cx="1514023" cy="500939"/>
            </a:xfrm>
            <a:prstGeom prst="roundRect">
              <a:avLst>
                <a:gd name="adj" fmla="val 9461"/>
              </a:avLst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12" name="Rounded Rectangle 268">
              <a:extLst>
                <a:ext uri="{FF2B5EF4-FFF2-40B4-BE49-F238E27FC236}">
                  <a16:creationId xmlns:a16="http://schemas.microsoft.com/office/drawing/2014/main" id="{7EC3905A-49E8-469E-8F66-012BEDD4FE42}"/>
                </a:ext>
              </a:extLst>
            </p:cNvPr>
            <p:cNvSpPr/>
            <p:nvPr/>
          </p:nvSpPr>
          <p:spPr bwMode="auto">
            <a:xfrm>
              <a:off x="10281371" y="2313646"/>
              <a:ext cx="1508644" cy="86385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3200" b="1">
                  <a:solidFill>
                    <a:srgbClr val="FFFFFF"/>
                  </a:solidFill>
                  <a:latin typeface="Arial" charset="0"/>
                  <a:ea typeface="ＭＳ Ｐゴシック" pitchFamily="1" charset="-128"/>
                  <a:cs typeface="ＭＳ Ｐゴシック" pitchFamily="1" charset="-128"/>
                  <a:sym typeface="Arial"/>
                </a:rPr>
                <a:t>10 </a:t>
              </a:r>
              <a:r>
                <a:rPr lang="en-US" b="1">
                  <a:solidFill>
                    <a:srgbClr val="FFFFFF"/>
                  </a:solidFill>
                  <a:latin typeface="Arial" charset="0"/>
                  <a:ea typeface="ＭＳ Ｐゴシック" pitchFamily="1" charset="-128"/>
                  <a:cs typeface="ＭＳ Ｐゴシック" pitchFamily="1" charset="-128"/>
                  <a:sym typeface="Arial"/>
                </a:rPr>
                <a:t>M€//Y</a:t>
              </a:r>
            </a:p>
          </p:txBody>
        </p:sp>
        <p:sp>
          <p:nvSpPr>
            <p:cNvPr id="313" name="Rounded Rectangle 270">
              <a:extLst>
                <a:ext uri="{FF2B5EF4-FFF2-40B4-BE49-F238E27FC236}">
                  <a16:creationId xmlns:a16="http://schemas.microsoft.com/office/drawing/2014/main" id="{4243CEBE-DDC4-4176-ADFD-1B56A8BC9D45}"/>
                </a:ext>
              </a:extLst>
            </p:cNvPr>
            <p:cNvSpPr/>
            <p:nvPr/>
          </p:nvSpPr>
          <p:spPr bwMode="auto">
            <a:xfrm>
              <a:off x="10314931" y="3285337"/>
              <a:ext cx="1514023" cy="551032"/>
            </a:xfrm>
            <a:prstGeom prst="roundRect">
              <a:avLst>
                <a:gd name="adj" fmla="val 7933"/>
              </a:avLst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14" name="Rounded Rectangle 271">
              <a:extLst>
                <a:ext uri="{FF2B5EF4-FFF2-40B4-BE49-F238E27FC236}">
                  <a16:creationId xmlns:a16="http://schemas.microsoft.com/office/drawing/2014/main" id="{858AA411-C545-4A00-9E31-A74D47E6501C}"/>
                </a:ext>
              </a:extLst>
            </p:cNvPr>
            <p:cNvSpPr/>
            <p:nvPr/>
          </p:nvSpPr>
          <p:spPr bwMode="auto">
            <a:xfrm>
              <a:off x="10127845" y="3112033"/>
              <a:ext cx="1947275" cy="863851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000" b="1">
                  <a:solidFill>
                    <a:srgbClr val="FFFFFF"/>
                  </a:solidFill>
                  <a:latin typeface="Arial" charset="0"/>
                  <a:ea typeface="ＭＳ Ｐゴシック" pitchFamily="1" charset="-128"/>
                  <a:cs typeface="ＭＳ Ｐゴシック" pitchFamily="1" charset="-128"/>
                  <a:sym typeface="Arial"/>
                </a:rPr>
                <a:t>20.000</a:t>
              </a:r>
              <a:r>
                <a:rPr lang="en-US" sz="1400" b="1">
                  <a:solidFill>
                    <a:srgbClr val="FFFFFF"/>
                  </a:solidFill>
                  <a:latin typeface="Arial" charset="0"/>
                  <a:ea typeface="ＭＳ Ｐゴシック" pitchFamily="1" charset="-128"/>
                  <a:cs typeface="ＭＳ Ｐゴシック" pitchFamily="1" charset="-128"/>
                  <a:sym typeface="Arial"/>
                </a:rPr>
                <a:t> </a:t>
              </a:r>
              <a:r>
                <a:rPr lang="en-US" sz="1200" b="1">
                  <a:solidFill>
                    <a:srgbClr val="FFFFFF"/>
                  </a:solidFill>
                  <a:latin typeface="Arial" charset="0"/>
                  <a:ea typeface="ＭＳ Ｐゴシック" pitchFamily="1" charset="-128"/>
                  <a:cs typeface="ＭＳ Ｐゴシック" pitchFamily="1" charset="-128"/>
                  <a:sym typeface="Arial"/>
                </a:rPr>
                <a:t>CDEs/Y</a:t>
              </a:r>
              <a:endParaRPr lang="en-US" sz="1400" b="1">
                <a:solidFill>
                  <a:srgbClr val="FFFFF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pic>
          <p:nvPicPr>
            <p:cNvPr id="315" name="Agrupar 10">
              <a:extLst>
                <a:ext uri="{FF2B5EF4-FFF2-40B4-BE49-F238E27FC236}">
                  <a16:creationId xmlns:a16="http://schemas.microsoft.com/office/drawing/2014/main" id="{FF3075A0-3688-4117-BC17-E16563FA79E4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4"/>
            <a:stretch>
              <a:fillRect/>
            </a:stretch>
          </p:blipFill>
          <p:spPr bwMode="auto">
            <a:xfrm>
              <a:off x="4668570" y="2509731"/>
              <a:ext cx="1058524" cy="1363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6" name="Picture 315">
              <a:extLst>
                <a:ext uri="{FF2B5EF4-FFF2-40B4-BE49-F238E27FC236}">
                  <a16:creationId xmlns:a16="http://schemas.microsoft.com/office/drawing/2014/main" id="{6D6E3AE9-56B8-42D1-9D0C-D84F757E87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435274" y="2557562"/>
              <a:ext cx="1475735" cy="1184616"/>
            </a:xfrm>
            <a:prstGeom prst="rect">
              <a:avLst/>
            </a:prstGeom>
          </p:spPr>
        </p:pic>
        <p:sp>
          <p:nvSpPr>
            <p:cNvPr id="317" name="Pentagon 272">
              <a:extLst>
                <a:ext uri="{FF2B5EF4-FFF2-40B4-BE49-F238E27FC236}">
                  <a16:creationId xmlns:a16="http://schemas.microsoft.com/office/drawing/2014/main" id="{F8DB2B41-8542-4384-BF89-4443FB3EAA17}"/>
                </a:ext>
              </a:extLst>
            </p:cNvPr>
            <p:cNvSpPr/>
            <p:nvPr/>
          </p:nvSpPr>
          <p:spPr bwMode="auto">
            <a:xfrm>
              <a:off x="2258205" y="619951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18" name="Pentagon 273">
              <a:extLst>
                <a:ext uri="{FF2B5EF4-FFF2-40B4-BE49-F238E27FC236}">
                  <a16:creationId xmlns:a16="http://schemas.microsoft.com/office/drawing/2014/main" id="{71376B54-4967-488D-9306-8129ED74A6DE}"/>
                </a:ext>
              </a:extLst>
            </p:cNvPr>
            <p:cNvSpPr/>
            <p:nvPr/>
          </p:nvSpPr>
          <p:spPr bwMode="auto">
            <a:xfrm>
              <a:off x="4255703" y="619951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19" name="Pentagon 274">
              <a:extLst>
                <a:ext uri="{FF2B5EF4-FFF2-40B4-BE49-F238E27FC236}">
                  <a16:creationId xmlns:a16="http://schemas.microsoft.com/office/drawing/2014/main" id="{4A34F77A-8BE5-4723-93FB-3332321407DD}"/>
                </a:ext>
              </a:extLst>
            </p:cNvPr>
            <p:cNvSpPr/>
            <p:nvPr/>
          </p:nvSpPr>
          <p:spPr bwMode="auto">
            <a:xfrm>
              <a:off x="6240866" y="619951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0" name="Pentagon 275">
              <a:extLst>
                <a:ext uri="{FF2B5EF4-FFF2-40B4-BE49-F238E27FC236}">
                  <a16:creationId xmlns:a16="http://schemas.microsoft.com/office/drawing/2014/main" id="{D2F80C6C-EC78-4186-A6AE-0AAB6983F917}"/>
                </a:ext>
              </a:extLst>
            </p:cNvPr>
            <p:cNvSpPr/>
            <p:nvPr/>
          </p:nvSpPr>
          <p:spPr bwMode="auto">
            <a:xfrm>
              <a:off x="8223806" y="619951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1" name="Pentagon 276">
              <a:extLst>
                <a:ext uri="{FF2B5EF4-FFF2-40B4-BE49-F238E27FC236}">
                  <a16:creationId xmlns:a16="http://schemas.microsoft.com/office/drawing/2014/main" id="{059164E0-39C5-4098-A6D4-3CA5DF0A088E}"/>
                </a:ext>
              </a:extLst>
            </p:cNvPr>
            <p:cNvSpPr/>
            <p:nvPr/>
          </p:nvSpPr>
          <p:spPr bwMode="auto">
            <a:xfrm>
              <a:off x="10135973" y="6199514"/>
              <a:ext cx="1859519" cy="383140"/>
            </a:xfrm>
            <a:prstGeom prst="homePlate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Calibri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2" name="Rectangle 321">
              <a:extLst>
                <a:ext uri="{FF2B5EF4-FFF2-40B4-BE49-F238E27FC236}">
                  <a16:creationId xmlns:a16="http://schemas.microsoft.com/office/drawing/2014/main" id="{5A356E8B-BA3A-4F27-884C-A886B6876BF9}"/>
                </a:ext>
              </a:extLst>
            </p:cNvPr>
            <p:cNvSpPr/>
            <p:nvPr/>
          </p:nvSpPr>
          <p:spPr bwMode="auto">
            <a:xfrm>
              <a:off x="2250287" y="4466078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3" name="Title 1">
              <a:extLst>
                <a:ext uri="{FF2B5EF4-FFF2-40B4-BE49-F238E27FC236}">
                  <a16:creationId xmlns:a16="http://schemas.microsoft.com/office/drawing/2014/main" id="{1D890C8E-7549-4E06-A186-4E0B8CF57EE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76613" y="4465370"/>
              <a:ext cx="93924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7- Today</a:t>
              </a:r>
            </a:p>
          </p:txBody>
        </p:sp>
        <p:sp>
          <p:nvSpPr>
            <p:cNvPr id="324" name="Rectangle 323">
              <a:extLst>
                <a:ext uri="{FF2B5EF4-FFF2-40B4-BE49-F238E27FC236}">
                  <a16:creationId xmlns:a16="http://schemas.microsoft.com/office/drawing/2014/main" id="{DF063BE4-328A-4408-8D6A-C785A7629CDD}"/>
                </a:ext>
              </a:extLst>
            </p:cNvPr>
            <p:cNvSpPr/>
            <p:nvPr/>
          </p:nvSpPr>
          <p:spPr bwMode="auto">
            <a:xfrm>
              <a:off x="4238713" y="4466078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5" name="Title 1">
              <a:extLst>
                <a:ext uri="{FF2B5EF4-FFF2-40B4-BE49-F238E27FC236}">
                  <a16:creationId xmlns:a16="http://schemas.microsoft.com/office/drawing/2014/main" id="{53FC3ADE-E40E-4596-A73F-0EAC9AEC3D6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50287" y="6164897"/>
              <a:ext cx="1894934" cy="452371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Gente</a:t>
              </a: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de </a:t>
              </a: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Acción</a:t>
              </a: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+ 4coke </a:t>
              </a:r>
            </a:p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Listing &amp; Availability Focus</a:t>
              </a:r>
            </a:p>
          </p:txBody>
        </p:sp>
        <p:sp>
          <p:nvSpPr>
            <p:cNvPr id="326" name="Title 1">
              <a:extLst>
                <a:ext uri="{FF2B5EF4-FFF2-40B4-BE49-F238E27FC236}">
                  <a16:creationId xmlns:a16="http://schemas.microsoft.com/office/drawing/2014/main" id="{6E4CFD83-5309-4073-B68E-FB570B909F2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360799" y="4440069"/>
              <a:ext cx="931272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4-Today</a:t>
              </a:r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F762154E-AAF5-4FD9-AA1D-D5E5C32B75EC}"/>
                </a:ext>
              </a:extLst>
            </p:cNvPr>
            <p:cNvSpPr/>
            <p:nvPr/>
          </p:nvSpPr>
          <p:spPr bwMode="auto">
            <a:xfrm>
              <a:off x="6227139" y="4466078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28" name="Title 1">
              <a:extLst>
                <a:ext uri="{FF2B5EF4-FFF2-40B4-BE49-F238E27FC236}">
                  <a16:creationId xmlns:a16="http://schemas.microsoft.com/office/drawing/2014/main" id="{0C4B2D05-B90D-49FC-AABF-041CEA30E58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216102" y="4412902"/>
              <a:ext cx="841343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21-Today</a:t>
              </a:r>
            </a:p>
          </p:txBody>
        </p:sp>
        <p:sp>
          <p:nvSpPr>
            <p:cNvPr id="329" name="Title 1">
              <a:extLst>
                <a:ext uri="{FF2B5EF4-FFF2-40B4-BE49-F238E27FC236}">
                  <a16:creationId xmlns:a16="http://schemas.microsoft.com/office/drawing/2014/main" id="{A5C31648-28E5-4E59-9790-047EFC42160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259823" y="6164898"/>
              <a:ext cx="1867436" cy="452371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Ambassadors / The Crew</a:t>
              </a:r>
            </a:p>
          </p:txBody>
        </p:sp>
        <p:sp>
          <p:nvSpPr>
            <p:cNvPr id="330" name="Title 1">
              <a:extLst>
                <a:ext uri="{FF2B5EF4-FFF2-40B4-BE49-F238E27FC236}">
                  <a16:creationId xmlns:a16="http://schemas.microsoft.com/office/drawing/2014/main" id="{4E6F39BB-9C56-4A69-9FB4-6136E09BDCE1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01671" y="6157911"/>
              <a:ext cx="1898126" cy="452371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liente</a:t>
              </a: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</a:t>
              </a: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Completo</a:t>
              </a:r>
              <a:endParaRPr lang="en-GB" sz="9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331" name="Rectangle 330">
              <a:extLst>
                <a:ext uri="{FF2B5EF4-FFF2-40B4-BE49-F238E27FC236}">
                  <a16:creationId xmlns:a16="http://schemas.microsoft.com/office/drawing/2014/main" id="{225AC786-45B1-463A-ABA4-A8B986AD694C}"/>
                </a:ext>
              </a:extLst>
            </p:cNvPr>
            <p:cNvSpPr/>
            <p:nvPr/>
          </p:nvSpPr>
          <p:spPr bwMode="auto">
            <a:xfrm>
              <a:off x="8191419" y="4466076"/>
              <a:ext cx="1891582" cy="211657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32" name="Title 1">
              <a:extLst>
                <a:ext uri="{FF2B5EF4-FFF2-40B4-BE49-F238E27FC236}">
                  <a16:creationId xmlns:a16="http://schemas.microsoft.com/office/drawing/2014/main" id="{7CE7726C-0B85-448F-9D0A-3BECDF38B50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0125435" y="6186072"/>
              <a:ext cx="1867436" cy="400437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Welcomebar</a:t>
              </a: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 &amp; </a:t>
              </a:r>
              <a:r>
                <a:rPr lang="en-GB" sz="900" b="0" kern="0" err="1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Reactibar</a:t>
              </a:r>
              <a:endParaRPr lang="en-GB" sz="900" b="0" kern="0">
                <a:solidFill>
                  <a:srgbClr val="FFFFFF"/>
                </a:solidFill>
                <a:latin typeface="Unity" panose="020B050503030302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A55308CF-D982-4E45-8C23-0B3D68245FB8}"/>
                </a:ext>
              </a:extLst>
            </p:cNvPr>
            <p:cNvSpPr/>
            <p:nvPr/>
          </p:nvSpPr>
          <p:spPr bwMode="auto">
            <a:xfrm>
              <a:off x="10123726" y="4466078"/>
              <a:ext cx="1867436" cy="2099257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14377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400">
                <a:solidFill>
                  <a:srgbClr val="000000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  <a:sym typeface="Arial"/>
              </a:endParaRPr>
            </a:p>
          </p:txBody>
        </p:sp>
        <p:sp>
          <p:nvSpPr>
            <p:cNvPr id="334" name="Title 1">
              <a:extLst>
                <a:ext uri="{FF2B5EF4-FFF2-40B4-BE49-F238E27FC236}">
                  <a16:creationId xmlns:a16="http://schemas.microsoft.com/office/drawing/2014/main" id="{33249547-8790-4546-9AB3-035B0B3C326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253177" y="4417925"/>
              <a:ext cx="101377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21- Today</a:t>
              </a:r>
            </a:p>
          </p:txBody>
        </p:sp>
        <p:sp>
          <p:nvSpPr>
            <p:cNvPr id="335" name="Title 1">
              <a:extLst>
                <a:ext uri="{FF2B5EF4-FFF2-40B4-BE49-F238E27FC236}">
                  <a16:creationId xmlns:a16="http://schemas.microsoft.com/office/drawing/2014/main" id="{1FF81330-FE9E-4D97-8CD8-5E6DE730D59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37391" y="6164898"/>
              <a:ext cx="1867436" cy="452371"/>
            </a:xfrm>
            <a:prstGeom prst="rect">
              <a:avLst/>
            </a:prstGeom>
            <a:solidFill>
              <a:srgbClr val="C00000"/>
            </a:soli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900" b="0" kern="0">
                  <a:solidFill>
                    <a:srgbClr val="FFFFFF"/>
                  </a:solidFill>
                  <a:latin typeface="Unity" panose="020B050503030302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Terraces program</a:t>
              </a:r>
            </a:p>
          </p:txBody>
        </p:sp>
        <p:pic>
          <p:nvPicPr>
            <p:cNvPr id="336" name="Picture 11" descr="Así son las terrazas sostenibles de Coca-Cola">
              <a:extLst>
                <a:ext uri="{FF2B5EF4-FFF2-40B4-BE49-F238E27FC236}">
                  <a16:creationId xmlns:a16="http://schemas.microsoft.com/office/drawing/2014/main" id="{A26C58FC-171B-4191-A90F-6835C86037D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59" t="-608" r="9582"/>
            <a:stretch/>
          </p:blipFill>
          <p:spPr bwMode="auto">
            <a:xfrm>
              <a:off x="6335201" y="4825481"/>
              <a:ext cx="1711801" cy="1162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7" name="Picture 336">
              <a:extLst>
                <a:ext uri="{FF2B5EF4-FFF2-40B4-BE49-F238E27FC236}">
                  <a16:creationId xmlns:a16="http://schemas.microsoft.com/office/drawing/2014/main" id="{212621FA-058D-4B7A-94F8-8C37267DF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273541" y="4606608"/>
              <a:ext cx="711011" cy="517331"/>
            </a:xfrm>
            <a:prstGeom prst="rect">
              <a:avLst/>
            </a:prstGeom>
          </p:spPr>
        </p:pic>
        <p:pic>
          <p:nvPicPr>
            <p:cNvPr id="338" name="Picture 13" descr="The Crew: los expertos detrás los nuevos nuevos mixers de Coca-Cola |  Coctelería Creativa">
              <a:extLst>
                <a:ext uri="{FF2B5EF4-FFF2-40B4-BE49-F238E27FC236}">
                  <a16:creationId xmlns:a16="http://schemas.microsoft.com/office/drawing/2014/main" id="{CF5E6733-C1B4-4253-99BA-9C9545AA01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80649" y="4835140"/>
              <a:ext cx="1643487" cy="1233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9" name="Title 1">
              <a:extLst>
                <a:ext uri="{FF2B5EF4-FFF2-40B4-BE49-F238E27FC236}">
                  <a16:creationId xmlns:a16="http://schemas.microsoft.com/office/drawing/2014/main" id="{71499BA3-6BBC-4E4F-9935-6A50DA1C3AC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29389" y="4391672"/>
              <a:ext cx="781771" cy="452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>
                <a:lnSpc>
                  <a:spcPct val="90000"/>
                </a:lnSpc>
              </a:pPr>
              <a:r>
                <a:rPr lang="en-GB" sz="1200" kern="0">
                  <a:solidFill>
                    <a:srgbClr val="FFFFFF">
                      <a:lumMod val="50000"/>
                    </a:srgbClr>
                  </a:solidFill>
                  <a:latin typeface="Calibri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2010-2019</a:t>
              </a:r>
            </a:p>
          </p:txBody>
        </p:sp>
        <p:sp>
          <p:nvSpPr>
            <p:cNvPr id="340" name="Title 21">
              <a:extLst>
                <a:ext uri="{FF2B5EF4-FFF2-40B4-BE49-F238E27FC236}">
                  <a16:creationId xmlns:a16="http://schemas.microsoft.com/office/drawing/2014/main" id="{9567EF9F-8944-4992-9DD1-B328B515380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73871" y="6572612"/>
              <a:ext cx="1644964" cy="338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/>
              <a:r>
                <a:rPr lang="en-US" sz="1000" kern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3.400 customers* </a:t>
              </a:r>
              <a:r>
                <a:rPr lang="en-US" sz="1100" kern="0">
                  <a:solidFill>
                    <a:srgbClr val="C00000"/>
                  </a:solidFill>
                  <a:latin typeface="Unity" panose="020B0505030303020204" pitchFamily="34" charset="0"/>
                  <a:sym typeface="Webdings" panose="05030102010509060703" pitchFamily="18" charset="2"/>
                </a:rPr>
                <a:t></a:t>
              </a:r>
              <a:endParaRPr lang="en-US" sz="1000" kern="0">
                <a:solidFill>
                  <a:srgbClr val="C00000"/>
                </a:solidFill>
                <a:latin typeface="Unity" panose="020B0505030303020204" pitchFamily="34" charset="0"/>
                <a:sym typeface="Arial"/>
              </a:endParaRPr>
            </a:p>
          </p:txBody>
        </p:sp>
        <p:sp>
          <p:nvSpPr>
            <p:cNvPr id="341" name="Title 21">
              <a:extLst>
                <a:ext uri="{FF2B5EF4-FFF2-40B4-BE49-F238E27FC236}">
                  <a16:creationId xmlns:a16="http://schemas.microsoft.com/office/drawing/2014/main" id="{C7B91DE3-A3B6-45BE-B229-93B9473A37B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401191" y="6552889"/>
              <a:ext cx="1644964" cy="338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5720" rIns="91440" bIns="45720" numCol="1" anchor="ctr" anchorCtr="0" compatLnSpc="1">
              <a:prstTxWarp prst="textNoShape">
                <a:avLst/>
              </a:prstTxWarp>
            </a:bodyPr>
            <a:lstStyle>
              <a:lvl1pPr algn="l" rtl="0" eaLnBrk="1" fontAlgn="base" hangingPunct="1">
                <a:spcBef>
                  <a:spcPct val="0"/>
                </a:spcBef>
                <a:spcAft>
                  <a:spcPct val="0"/>
                </a:spcAft>
                <a:defRPr lang="en-US" sz="2400" b="1">
                  <a:solidFill>
                    <a:srgbClr val="F52026"/>
                  </a:solidFill>
                  <a:latin typeface="Calibri" pitchFamily="34" charset="0"/>
                  <a:ea typeface="+mj-ea"/>
                  <a:cs typeface="Calibri" pitchFamily="34" charset="0"/>
                </a:defRPr>
              </a:lvl1pPr>
              <a:lvl2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2pPr>
              <a:lvl3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3pPr>
              <a:lvl4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4pPr>
              <a:lvl5pPr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5pPr>
              <a:lvl6pPr marL="4572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6pPr>
              <a:lvl7pPr marL="9144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7pPr>
              <a:lvl8pPr marL="13716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8pPr>
              <a:lvl9pPr marL="1828800" algn="l" rtl="0" eaLnBrk="1" fontAlgn="base" hangingPunct="1"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52026"/>
                  </a:solidFill>
                  <a:latin typeface="Arial Bold" pitchFamily="1" charset="0"/>
                  <a:ea typeface="ＭＳ Ｐゴシック" pitchFamily="1" charset="-128"/>
                  <a:cs typeface="ＭＳ Ｐゴシック" pitchFamily="1" charset="-128"/>
                </a:defRPr>
              </a:lvl9pPr>
            </a:lstStyle>
            <a:p>
              <a:pPr algn="ctr" defTabSz="914377"/>
              <a:r>
                <a:rPr lang="en-US" sz="1000" kern="0">
                  <a:solidFill>
                    <a:srgbClr val="C00000"/>
                  </a:solidFill>
                  <a:latin typeface="Unity" panose="020B0505030303020204" pitchFamily="34" charset="0"/>
                  <a:sym typeface="Arial"/>
                </a:rPr>
                <a:t>1.600 customers* </a:t>
              </a:r>
              <a:r>
                <a:rPr lang="en-US" sz="1100" kern="0">
                  <a:solidFill>
                    <a:srgbClr val="C00000"/>
                  </a:solidFill>
                  <a:latin typeface="Unity" panose="020B0505030303020204" pitchFamily="34" charset="0"/>
                  <a:sym typeface="Webdings" panose="05030102010509060703" pitchFamily="18" charset="2"/>
                </a:rPr>
                <a:t></a:t>
              </a:r>
              <a:endParaRPr lang="en-US" sz="1000" kern="0">
                <a:solidFill>
                  <a:srgbClr val="C00000"/>
                </a:solidFill>
                <a:latin typeface="Unity" panose="020B0505030303020204" pitchFamily="34" charset="0"/>
                <a:sym typeface="Arial"/>
              </a:endParaRPr>
            </a:p>
          </p:txBody>
        </p:sp>
        <p:pic>
          <p:nvPicPr>
            <p:cNvPr id="342" name="Picture 18" descr="1. RGB Availability &#10;2. Plan Eurocopa P5 &#10;3. Boost Execution &#10;CANAL HORECA &#10;PRIORIDADES &#10;RGB BOOST - Plan Disoonibilidad ">
              <a:extLst>
                <a:ext uri="{FF2B5EF4-FFF2-40B4-BE49-F238E27FC236}">
                  <a16:creationId xmlns:a16="http://schemas.microsoft.com/office/drawing/2014/main" id="{55647920-6945-4281-9C1E-2178063A58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932" t="66393" r="16612" b="29999"/>
            <a:stretch/>
          </p:blipFill>
          <p:spPr bwMode="auto">
            <a:xfrm>
              <a:off x="10250721" y="4747788"/>
              <a:ext cx="881175" cy="400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3" name="Picture 20" descr="WhatsApp to stop working on millions of phones - BBC News">
              <a:extLst>
                <a:ext uri="{FF2B5EF4-FFF2-40B4-BE49-F238E27FC236}">
                  <a16:creationId xmlns:a16="http://schemas.microsoft.com/office/drawing/2014/main" id="{A830FD65-85BC-4E9C-9670-0305CFF8A2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8244" y="4804885"/>
              <a:ext cx="1522077" cy="8523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4" name="Picture 22" descr="Coca-cola en vidrio retornable 350 ml - Pack 24 Ud – Re-pot market">
              <a:extLst>
                <a:ext uri="{FF2B5EF4-FFF2-40B4-BE49-F238E27FC236}">
                  <a16:creationId xmlns:a16="http://schemas.microsoft.com/office/drawing/2014/main" id="{6BFBCBE1-CF53-4835-9B73-0DE45681D4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56516" y="5180218"/>
              <a:ext cx="1372768" cy="10107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5" name="Picture 24" descr="50% descuento en área de clientes si contratas la Web - Arcadina Blog">
              <a:extLst>
                <a:ext uri="{FF2B5EF4-FFF2-40B4-BE49-F238E27FC236}">
                  <a16:creationId xmlns:a16="http://schemas.microsoft.com/office/drawing/2014/main" id="{A063F009-73B1-4953-8FD1-D2D1ADA2DE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339822" y="4688328"/>
              <a:ext cx="592751" cy="592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46" name="Group 345">
              <a:extLst>
                <a:ext uri="{FF2B5EF4-FFF2-40B4-BE49-F238E27FC236}">
                  <a16:creationId xmlns:a16="http://schemas.microsoft.com/office/drawing/2014/main" id="{A70EF6BA-816C-448C-8E35-0DE331D9AD1C}"/>
                </a:ext>
              </a:extLst>
            </p:cNvPr>
            <p:cNvGrpSpPr/>
            <p:nvPr/>
          </p:nvGrpSpPr>
          <p:grpSpPr>
            <a:xfrm>
              <a:off x="2362631" y="5182958"/>
              <a:ext cx="1737900" cy="615555"/>
              <a:chOff x="712816" y="2327566"/>
              <a:chExt cx="5358464" cy="1900210"/>
            </a:xfrm>
          </p:grpSpPr>
          <p:pic>
            <p:nvPicPr>
              <p:cNvPr id="347" name="Picture 346">
                <a:extLst>
                  <a:ext uri="{FF2B5EF4-FFF2-40B4-BE49-F238E27FC236}">
                    <a16:creationId xmlns:a16="http://schemas.microsoft.com/office/drawing/2014/main" id="{5DD3556E-3A9A-49E1-979F-B74E73ABB2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97341" y="2327566"/>
                <a:ext cx="1048112" cy="1900210"/>
              </a:xfrm>
              <a:prstGeom prst="rect">
                <a:avLst/>
              </a:prstGeom>
            </p:spPr>
          </p:pic>
          <p:pic>
            <p:nvPicPr>
              <p:cNvPr id="348" name="Picture 347">
                <a:extLst>
                  <a:ext uri="{FF2B5EF4-FFF2-40B4-BE49-F238E27FC236}">
                    <a16:creationId xmlns:a16="http://schemas.microsoft.com/office/drawing/2014/main" id="{B9441AEC-7246-45CC-B9B1-1F78DE7BA6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07472" y="2327566"/>
                <a:ext cx="1048112" cy="1900210"/>
              </a:xfrm>
              <a:prstGeom prst="rect">
                <a:avLst/>
              </a:prstGeom>
            </p:spPr>
          </p:pic>
          <p:pic>
            <p:nvPicPr>
              <p:cNvPr id="349" name="Picture 348">
                <a:extLst>
                  <a:ext uri="{FF2B5EF4-FFF2-40B4-BE49-F238E27FC236}">
                    <a16:creationId xmlns:a16="http://schemas.microsoft.com/office/drawing/2014/main" id="{FB833397-861D-40E5-9EAA-FDEBD4015D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61767" y="2327566"/>
                <a:ext cx="1048112" cy="1900210"/>
              </a:xfrm>
              <a:prstGeom prst="rect">
                <a:avLst/>
              </a:prstGeom>
            </p:spPr>
          </p:pic>
          <p:pic>
            <p:nvPicPr>
              <p:cNvPr id="350" name="Picture 349">
                <a:extLst>
                  <a:ext uri="{FF2B5EF4-FFF2-40B4-BE49-F238E27FC236}">
                    <a16:creationId xmlns:a16="http://schemas.microsoft.com/office/drawing/2014/main" id="{83CE5D7A-6532-4588-9F13-DCB3BA90FC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23168" y="2327566"/>
                <a:ext cx="1048112" cy="1900210"/>
              </a:xfrm>
              <a:prstGeom prst="rect">
                <a:avLst/>
              </a:prstGeom>
            </p:spPr>
          </p:pic>
          <p:pic>
            <p:nvPicPr>
              <p:cNvPr id="351" name="Picture 350">
                <a:extLst>
                  <a:ext uri="{FF2B5EF4-FFF2-40B4-BE49-F238E27FC236}">
                    <a16:creationId xmlns:a16="http://schemas.microsoft.com/office/drawing/2014/main" id="{C75A1C68-5F28-4354-BD4E-121181D463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2816" y="2802514"/>
                <a:ext cx="755503" cy="1369715"/>
              </a:xfrm>
              <a:prstGeom prst="rect">
                <a:avLst/>
              </a:prstGeom>
            </p:spPr>
          </p:pic>
          <p:pic>
            <p:nvPicPr>
              <p:cNvPr id="352" name="Picture 351">
                <a:extLst>
                  <a:ext uri="{FF2B5EF4-FFF2-40B4-BE49-F238E27FC236}">
                    <a16:creationId xmlns:a16="http://schemas.microsoft.com/office/drawing/2014/main" id="{548A704F-84E6-4B45-9E4C-344F3D96D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529701" y="2802513"/>
                <a:ext cx="755504" cy="1369716"/>
              </a:xfrm>
              <a:prstGeom prst="rect">
                <a:avLst/>
              </a:prstGeom>
            </p:spPr>
          </p:pic>
          <p:pic>
            <p:nvPicPr>
              <p:cNvPr id="353" name="Picture 352">
                <a:extLst>
                  <a:ext uri="{FF2B5EF4-FFF2-40B4-BE49-F238E27FC236}">
                    <a16:creationId xmlns:a16="http://schemas.microsoft.com/office/drawing/2014/main" id="{54DE4EE9-1093-46AD-86FF-EA5F414EE1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89671" y="2802513"/>
                <a:ext cx="755505" cy="1369717"/>
              </a:xfrm>
              <a:prstGeom prst="rect">
                <a:avLst/>
              </a:prstGeom>
            </p:spPr>
          </p:pic>
          <p:pic>
            <p:nvPicPr>
              <p:cNvPr id="354" name="Picture 353">
                <a:extLst>
                  <a:ext uri="{FF2B5EF4-FFF2-40B4-BE49-F238E27FC236}">
                    <a16:creationId xmlns:a16="http://schemas.microsoft.com/office/drawing/2014/main" id="{6117A4D7-C158-4222-B1AF-CEA7B498BD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6208" y="2719005"/>
                <a:ext cx="804546" cy="1458628"/>
              </a:xfrm>
              <a:prstGeom prst="rect">
                <a:avLst/>
              </a:prstGeom>
            </p:spPr>
          </p:pic>
        </p:grpSp>
        <p:grpSp>
          <p:nvGrpSpPr>
            <p:cNvPr id="355" name="Group 354">
              <a:extLst>
                <a:ext uri="{FF2B5EF4-FFF2-40B4-BE49-F238E27FC236}">
                  <a16:creationId xmlns:a16="http://schemas.microsoft.com/office/drawing/2014/main" id="{D9FBC6B7-5EA3-434E-A7F4-E96D5C7B2476}"/>
                </a:ext>
              </a:extLst>
            </p:cNvPr>
            <p:cNvGrpSpPr/>
            <p:nvPr/>
          </p:nvGrpSpPr>
          <p:grpSpPr>
            <a:xfrm>
              <a:off x="2438352" y="5806991"/>
              <a:ext cx="1494650" cy="464543"/>
              <a:chOff x="1859333" y="4172970"/>
              <a:chExt cx="4485232" cy="1136026"/>
            </a:xfrm>
          </p:grpSpPr>
          <p:pic>
            <p:nvPicPr>
              <p:cNvPr id="356" name="Picture 355">
                <a:extLst>
                  <a:ext uri="{FF2B5EF4-FFF2-40B4-BE49-F238E27FC236}">
                    <a16:creationId xmlns:a16="http://schemas.microsoft.com/office/drawing/2014/main" id="{0B42A3C3-03CF-4179-B34E-50BA8C1E5E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7681" y="4172970"/>
                <a:ext cx="983180" cy="988248"/>
              </a:xfrm>
              <a:prstGeom prst="rect">
                <a:avLst/>
              </a:prstGeom>
            </p:spPr>
          </p:pic>
          <p:pic>
            <p:nvPicPr>
              <p:cNvPr id="357" name="Picture 356">
                <a:extLst>
                  <a:ext uri="{FF2B5EF4-FFF2-40B4-BE49-F238E27FC236}">
                    <a16:creationId xmlns:a16="http://schemas.microsoft.com/office/drawing/2014/main" id="{AC240D9C-DF88-40C6-9063-515ABFEA83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59333" y="4178447"/>
                <a:ext cx="1150383" cy="1130549"/>
              </a:xfrm>
              <a:prstGeom prst="rect">
                <a:avLst/>
              </a:prstGeom>
            </p:spPr>
          </p:pic>
          <p:pic>
            <p:nvPicPr>
              <p:cNvPr id="358" name="Picture 357">
                <a:extLst>
                  <a:ext uri="{FF2B5EF4-FFF2-40B4-BE49-F238E27FC236}">
                    <a16:creationId xmlns:a16="http://schemas.microsoft.com/office/drawing/2014/main" id="{71F465AF-A8A5-45BD-A4CD-C1F574FC78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97449" y="4183106"/>
                <a:ext cx="1047116" cy="991419"/>
              </a:xfrm>
              <a:prstGeom prst="rect">
                <a:avLst/>
              </a:prstGeom>
            </p:spPr>
          </p:pic>
          <p:pic>
            <p:nvPicPr>
              <p:cNvPr id="359" name="Picture 358">
                <a:extLst>
                  <a:ext uri="{FF2B5EF4-FFF2-40B4-BE49-F238E27FC236}">
                    <a16:creationId xmlns:a16="http://schemas.microsoft.com/office/drawing/2014/main" id="{5CB747B0-C478-4DC0-9FD6-4C933059686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5918" y="4183106"/>
                <a:ext cx="1231509" cy="967977"/>
              </a:xfrm>
              <a:prstGeom prst="rect">
                <a:avLst/>
              </a:prstGeom>
            </p:spPr>
          </p:pic>
        </p:grpSp>
        <p:pic>
          <p:nvPicPr>
            <p:cNvPr id="360" name="Picture 2">
              <a:extLst>
                <a:ext uri="{FF2B5EF4-FFF2-40B4-BE49-F238E27FC236}">
                  <a16:creationId xmlns:a16="http://schemas.microsoft.com/office/drawing/2014/main" id="{450E4103-E67C-4E46-B7AF-269A8ECFD08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35715" y="2604743"/>
              <a:ext cx="359120" cy="11507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61" name="Picture 3">
              <a:extLst>
                <a:ext uri="{FF2B5EF4-FFF2-40B4-BE49-F238E27FC236}">
                  <a16:creationId xmlns:a16="http://schemas.microsoft.com/office/drawing/2014/main" id="{E1A46B85-911A-4DEF-A0B7-1957DED02EF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3" cstate="print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ackgroundRemoval t="1563" b="98340" l="14609" r="85391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922" t="7987" r="28731" b="11137"/>
            <a:stretch/>
          </p:blipFill>
          <p:spPr bwMode="auto">
            <a:xfrm>
              <a:off x="9128211" y="3139253"/>
              <a:ext cx="581087" cy="7716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63020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40508D-4D3B-47E7-8833-DE1A21D891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98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40508D-4D3B-47E7-8833-DE1A21D891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81668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9887" y="-99060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DBC47166-EC6B-4E0E-A4B6-C9416FFEE0D2}"/>
              </a:ext>
            </a:extLst>
          </p:cNvPr>
          <p:cNvSpPr txBox="1"/>
          <p:nvPr/>
        </p:nvSpPr>
        <p:spPr>
          <a:xfrm>
            <a:off x="2131352" y="454466"/>
            <a:ext cx="9209748" cy="10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latin typeface="Unity" panose="020B0505030303020204" pitchFamily="34" charset="0"/>
                <a:ea typeface="Lexend"/>
                <a:cs typeface="Lexend"/>
                <a:sym typeface="Lexend"/>
              </a:rPr>
              <a:t>GLASS OPPORTUNITIES:</a:t>
            </a:r>
          </a:p>
          <a:p>
            <a:pPr defTabSz="1219170">
              <a:buClr>
                <a:srgbClr val="000000"/>
              </a:buClr>
              <a:defRPr/>
            </a:pPr>
            <a:r>
              <a:rPr lang="en-US" sz="2800" b="1" kern="0" dirty="0">
                <a:solidFill>
                  <a:srgbClr val="FF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AFFORDABILITY &amp; PREMIUMIZATION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704F7796-FEC9-400A-82F7-EE48220B5B12}"/>
              </a:ext>
            </a:extLst>
          </p:cNvPr>
          <p:cNvSpPr txBox="1"/>
          <p:nvPr/>
        </p:nvSpPr>
        <p:spPr>
          <a:xfrm>
            <a:off x="65727" y="6433446"/>
            <a:ext cx="460973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en-US" sz="1067" kern="0" dirty="0">
                <a:latin typeface="Unity" panose="020B0505030303020204" pitchFamily="34" charset="0"/>
                <a:cs typeface="Arial"/>
                <a:sym typeface="Arial"/>
              </a:rPr>
              <a:t>1 ASP consumers who are &gt; 15 </a:t>
            </a:r>
            <a:r>
              <a:rPr lang="en-US" sz="1067" kern="0">
                <a:latin typeface="Unity" panose="020B0505030303020204" pitchFamily="34" charset="0"/>
                <a:cs typeface="Arial"/>
                <a:sym typeface="Arial"/>
              </a:rPr>
              <a:t>year-old </a:t>
            </a:r>
            <a:endParaRPr lang="en-US" sz="1067" kern="0" dirty="0"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0F28D00-2218-4FA0-95A4-A21D840016AB}"/>
              </a:ext>
            </a:extLst>
          </p:cNvPr>
          <p:cNvSpPr/>
          <p:nvPr/>
        </p:nvSpPr>
        <p:spPr>
          <a:xfrm rot="16200000">
            <a:off x="128733" y="2554686"/>
            <a:ext cx="1281279" cy="522712"/>
          </a:xfrm>
          <a:prstGeom prst="rect">
            <a:avLst/>
          </a:prstGeom>
          <a:solidFill>
            <a:srgbClr val="E7E6E6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  <a:sym typeface="Arial"/>
              </a:rPr>
              <a:t>LOW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089F23E-50BD-4A25-A922-757ABBC389C2}"/>
              </a:ext>
            </a:extLst>
          </p:cNvPr>
          <p:cNvSpPr/>
          <p:nvPr/>
        </p:nvSpPr>
        <p:spPr>
          <a:xfrm rot="16200000">
            <a:off x="128733" y="3937019"/>
            <a:ext cx="1281279" cy="522712"/>
          </a:xfrm>
          <a:prstGeom prst="rect">
            <a:avLst/>
          </a:prstGeom>
          <a:solidFill>
            <a:srgbClr val="E7E6E6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  <a:sym typeface="Arial"/>
              </a:rPr>
              <a:t>MID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427AECD-D258-48E0-AFAF-C31C4872011C}"/>
              </a:ext>
            </a:extLst>
          </p:cNvPr>
          <p:cNvSpPr/>
          <p:nvPr/>
        </p:nvSpPr>
        <p:spPr>
          <a:xfrm rot="16200000">
            <a:off x="128733" y="5350509"/>
            <a:ext cx="1281279" cy="522712"/>
          </a:xfrm>
          <a:prstGeom prst="rect">
            <a:avLst/>
          </a:prstGeom>
          <a:solidFill>
            <a:srgbClr val="E7E6E6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  <a:sym typeface="Arial"/>
              </a:rPr>
              <a:t>HIGH</a:t>
            </a: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FFFCC20-53BC-4552-930D-F1C36A2C99F6}"/>
              </a:ext>
            </a:extLst>
          </p:cNvPr>
          <p:cNvSpPr/>
          <p:nvPr/>
        </p:nvSpPr>
        <p:spPr>
          <a:xfrm>
            <a:off x="5481683" y="2173221"/>
            <a:ext cx="924520" cy="1281281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35DE062-EC59-428B-AB9E-396630C4580B}"/>
              </a:ext>
            </a:extLst>
          </p:cNvPr>
          <p:cNvSpPr/>
          <p:nvPr/>
        </p:nvSpPr>
        <p:spPr>
          <a:xfrm>
            <a:off x="5481683" y="3557737"/>
            <a:ext cx="924520" cy="128128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867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  <a:sym typeface="Arial"/>
              </a:rPr>
              <a:t>|----|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DD8F524-0574-4B1F-9C83-B2C23C841CEA}"/>
              </a:ext>
            </a:extLst>
          </p:cNvPr>
          <p:cNvSpPr/>
          <p:nvPr/>
        </p:nvSpPr>
        <p:spPr>
          <a:xfrm>
            <a:off x="5481683" y="4971226"/>
            <a:ext cx="924520" cy="128128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05370A9-621E-45DE-9625-B4521B207C14}"/>
              </a:ext>
            </a:extLst>
          </p:cNvPr>
          <p:cNvSpPr txBox="1"/>
          <p:nvPr/>
        </p:nvSpPr>
        <p:spPr>
          <a:xfrm>
            <a:off x="181877" y="1762784"/>
            <a:ext cx="64701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-US" sz="1600" b="1" kern="0" dirty="0">
                <a:solidFill>
                  <a:srgbClr val="FF0000"/>
                </a:solidFill>
                <a:latin typeface="Unity" panose="020B0505030303020204" pitchFamily="34" charset="0"/>
                <a:sym typeface="Arial"/>
              </a:rPr>
              <a:t>ASP CONSUMERS BY SOCIOECONOMIC CLASS</a:t>
            </a:r>
          </a:p>
        </p:txBody>
      </p:sp>
      <p:pic>
        <p:nvPicPr>
          <p:cNvPr id="117" name="Graphic 116" descr="Upward trend with solid fill">
            <a:extLst>
              <a:ext uri="{FF2B5EF4-FFF2-40B4-BE49-F238E27FC236}">
                <a16:creationId xmlns:a16="http://schemas.microsoft.com/office/drawing/2014/main" id="{06429545-BE3F-42F7-8847-98337001FE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43890" y="5259697"/>
            <a:ext cx="755703" cy="755703"/>
          </a:xfrm>
          <a:prstGeom prst="rect">
            <a:avLst/>
          </a:prstGeom>
        </p:spPr>
      </p:pic>
      <p:pic>
        <p:nvPicPr>
          <p:cNvPr id="118" name="Graphic 117" descr="Downward trend graph with solid fill">
            <a:extLst>
              <a:ext uri="{FF2B5EF4-FFF2-40B4-BE49-F238E27FC236}">
                <a16:creationId xmlns:a16="http://schemas.microsoft.com/office/drawing/2014/main" id="{85F926A7-FBFE-4D82-878B-61510A2B377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6438" y="2507727"/>
            <a:ext cx="755703" cy="755703"/>
          </a:xfrm>
          <a:prstGeom prst="rect">
            <a:avLst/>
          </a:prstGeom>
        </p:spPr>
      </p:pic>
      <p:grpSp>
        <p:nvGrpSpPr>
          <p:cNvPr id="100" name="Group 99">
            <a:extLst>
              <a:ext uri="{FF2B5EF4-FFF2-40B4-BE49-F238E27FC236}">
                <a16:creationId xmlns:a16="http://schemas.microsoft.com/office/drawing/2014/main" id="{B3416503-F25B-4365-9773-8F0FE459508F}"/>
              </a:ext>
            </a:extLst>
          </p:cNvPr>
          <p:cNvGrpSpPr/>
          <p:nvPr/>
        </p:nvGrpSpPr>
        <p:grpSpPr>
          <a:xfrm>
            <a:off x="1055617" y="3904367"/>
            <a:ext cx="4316455" cy="523133"/>
            <a:chOff x="611937" y="2702174"/>
            <a:chExt cx="3237341" cy="392350"/>
          </a:xfrm>
          <a:solidFill>
            <a:srgbClr val="ED1F24"/>
          </a:solidFill>
        </p:grpSpPr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8A031AC5-BA97-461C-907A-4789FAF57390}"/>
                </a:ext>
              </a:extLst>
            </p:cNvPr>
            <p:cNvGrpSpPr/>
            <p:nvPr/>
          </p:nvGrpSpPr>
          <p:grpSpPr>
            <a:xfrm>
              <a:off x="611937" y="2702174"/>
              <a:ext cx="3044099" cy="392350"/>
              <a:chOff x="620646" y="2763137"/>
              <a:chExt cx="3044099" cy="392350"/>
            </a:xfrm>
            <a:grpFill/>
          </p:grpSpPr>
          <p:pic>
            <p:nvPicPr>
              <p:cNvPr id="103" name="Graphic 102" descr="Man with solid fill">
                <a:extLst>
                  <a:ext uri="{FF2B5EF4-FFF2-40B4-BE49-F238E27FC236}">
                    <a16:creationId xmlns:a16="http://schemas.microsoft.com/office/drawing/2014/main" id="{2B9CDED8-A436-4C6B-A870-1F550953D4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20646" y="2763456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4" name="Graphic 103" descr="Man with solid fill">
                <a:extLst>
                  <a:ext uri="{FF2B5EF4-FFF2-40B4-BE49-F238E27FC236}">
                    <a16:creationId xmlns:a16="http://schemas.microsoft.com/office/drawing/2014/main" id="{2A4257C2-27D1-4899-96EC-68D51A7261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82465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5" name="Graphic 104" descr="Man with solid fill">
                <a:extLst>
                  <a:ext uri="{FF2B5EF4-FFF2-40B4-BE49-F238E27FC236}">
                    <a16:creationId xmlns:a16="http://schemas.microsoft.com/office/drawing/2014/main" id="{78F9E285-9815-43E0-9709-96844E0F87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28656" y="2763456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6" name="Graphic 105" descr="Man with solid fill">
                <a:extLst>
                  <a:ext uri="{FF2B5EF4-FFF2-40B4-BE49-F238E27FC236}">
                    <a16:creationId xmlns:a16="http://schemas.microsoft.com/office/drawing/2014/main" id="{44C598FD-C812-4B91-A1BC-AA6BB00FCA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23266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7" name="Graphic 106" descr="Man with solid fill">
                <a:extLst>
                  <a:ext uri="{FF2B5EF4-FFF2-40B4-BE49-F238E27FC236}">
                    <a16:creationId xmlns:a16="http://schemas.microsoft.com/office/drawing/2014/main" id="{B5E961E4-A258-4CE3-94DF-ED163720DF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436666" y="2763456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8" name="Graphic 107" descr="Man with solid fill">
                <a:extLst>
                  <a:ext uri="{FF2B5EF4-FFF2-40B4-BE49-F238E27FC236}">
                    <a16:creationId xmlns:a16="http://schemas.microsoft.com/office/drawing/2014/main" id="{22AAD4EF-A37E-4A5B-905A-BAC4F27D866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64067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09" name="Graphic 108" descr="Man with solid fill">
                <a:extLst>
                  <a:ext uri="{FF2B5EF4-FFF2-40B4-BE49-F238E27FC236}">
                    <a16:creationId xmlns:a16="http://schemas.microsoft.com/office/drawing/2014/main" id="{99DB424C-2FC3-4E40-9819-8E7FBD2F0F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844676" y="2763456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0" name="Graphic 109" descr="Man with solid fill">
                <a:extLst>
                  <a:ext uri="{FF2B5EF4-FFF2-40B4-BE49-F238E27FC236}">
                    <a16:creationId xmlns:a16="http://schemas.microsoft.com/office/drawing/2014/main" id="{C873B994-4737-46DB-A81B-91B929A835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04868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1" name="Graphic 110" descr="Man with solid fill">
                <a:extLst>
                  <a:ext uri="{FF2B5EF4-FFF2-40B4-BE49-F238E27FC236}">
                    <a16:creationId xmlns:a16="http://schemas.microsoft.com/office/drawing/2014/main" id="{431E12BC-252C-4018-B959-F89EB5FF28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252686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2" name="Graphic 111" descr="Man with solid fill">
                <a:extLst>
                  <a:ext uri="{FF2B5EF4-FFF2-40B4-BE49-F238E27FC236}">
                    <a16:creationId xmlns:a16="http://schemas.microsoft.com/office/drawing/2014/main" id="{B1D41A58-9933-4EC0-A60C-DDEEDBD081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45669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3" name="Graphic 112" descr="Man with solid fill">
                <a:extLst>
                  <a:ext uri="{FF2B5EF4-FFF2-40B4-BE49-F238E27FC236}">
                    <a16:creationId xmlns:a16="http://schemas.microsoft.com/office/drawing/2014/main" id="{D7B7332B-68FB-4F2E-B329-B1BD0ECE12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660696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4" name="Graphic 113" descr="Man with solid fill">
                <a:extLst>
                  <a:ext uri="{FF2B5EF4-FFF2-40B4-BE49-F238E27FC236}">
                    <a16:creationId xmlns:a16="http://schemas.microsoft.com/office/drawing/2014/main" id="{5EF92898-9667-4DA8-A9D2-4D42977597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864701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5" name="Graphic 114" descr="Man with solid fill">
                <a:extLst>
                  <a:ext uri="{FF2B5EF4-FFF2-40B4-BE49-F238E27FC236}">
                    <a16:creationId xmlns:a16="http://schemas.microsoft.com/office/drawing/2014/main" id="{4EEF1DE4-4D0C-45F3-A417-A51CFF7F7B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068706" y="2763137"/>
                <a:ext cx="392031" cy="392031"/>
              </a:xfrm>
              <a:prstGeom prst="rect">
                <a:avLst/>
              </a:prstGeom>
            </p:spPr>
          </p:pic>
          <p:pic>
            <p:nvPicPr>
              <p:cNvPr id="116" name="Graphic 115" descr="Man with solid fill">
                <a:extLst>
                  <a:ext uri="{FF2B5EF4-FFF2-40B4-BE49-F238E27FC236}">
                    <a16:creationId xmlns:a16="http://schemas.microsoft.com/office/drawing/2014/main" id="{C7BD182B-57F4-4876-82BC-17B30B1CC1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3272714" y="2763137"/>
                <a:ext cx="392031" cy="392031"/>
              </a:xfrm>
              <a:prstGeom prst="rect">
                <a:avLst/>
              </a:prstGeom>
            </p:spPr>
          </p:pic>
        </p:grpSp>
        <p:pic>
          <p:nvPicPr>
            <p:cNvPr id="102" name="Graphic 101" descr="Man with solid fill">
              <a:extLst>
                <a:ext uri="{FF2B5EF4-FFF2-40B4-BE49-F238E27FC236}">
                  <a16:creationId xmlns:a16="http://schemas.microsoft.com/office/drawing/2014/main" id="{0C833EAF-3834-4039-8EF0-810330ABEC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457247" y="2702174"/>
              <a:ext cx="392031" cy="392031"/>
            </a:xfrm>
            <a:prstGeom prst="rect">
              <a:avLst/>
            </a:prstGeom>
          </p:spPr>
        </p:pic>
      </p:grpSp>
      <p:sp>
        <p:nvSpPr>
          <p:cNvPr id="119" name="Rectangle 118">
            <a:extLst>
              <a:ext uri="{FF2B5EF4-FFF2-40B4-BE49-F238E27FC236}">
                <a16:creationId xmlns:a16="http://schemas.microsoft.com/office/drawing/2014/main" id="{C63CE222-7D00-4416-A16A-CE70CB9D49DD}"/>
              </a:ext>
            </a:extLst>
          </p:cNvPr>
          <p:cNvSpPr/>
          <p:nvPr/>
        </p:nvSpPr>
        <p:spPr>
          <a:xfrm>
            <a:off x="1111725" y="2173220"/>
            <a:ext cx="4269367" cy="1281281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F733F15C-DDCA-4526-8D4B-676894E8C421}"/>
              </a:ext>
            </a:extLst>
          </p:cNvPr>
          <p:cNvSpPr/>
          <p:nvPr/>
        </p:nvSpPr>
        <p:spPr>
          <a:xfrm>
            <a:off x="1111725" y="3557734"/>
            <a:ext cx="4269367" cy="1281281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13B5AB2A-9539-4BA0-BC7E-F6D4B1B64306}"/>
              </a:ext>
            </a:extLst>
          </p:cNvPr>
          <p:cNvSpPr/>
          <p:nvPr/>
        </p:nvSpPr>
        <p:spPr>
          <a:xfrm>
            <a:off x="1111725" y="4960890"/>
            <a:ext cx="4269367" cy="1281281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US" sz="1867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Unity" panose="020B0505030303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70A33B4-A89D-4AA5-B62B-107F2C4FB641}"/>
              </a:ext>
            </a:extLst>
          </p:cNvPr>
          <p:cNvSpPr/>
          <p:nvPr/>
        </p:nvSpPr>
        <p:spPr>
          <a:xfrm rot="5400000">
            <a:off x="5906873" y="2896712"/>
            <a:ext cx="1795189" cy="324736"/>
          </a:xfrm>
          <a:prstGeom prst="triangle">
            <a:avLst/>
          </a:prstGeom>
          <a:solidFill>
            <a:srgbClr val="EE29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4" name="Isosceles Triangle 133">
            <a:extLst>
              <a:ext uri="{FF2B5EF4-FFF2-40B4-BE49-F238E27FC236}">
                <a16:creationId xmlns:a16="http://schemas.microsoft.com/office/drawing/2014/main" id="{5D503AFF-F095-40F6-8E3E-EB75FB9E3E8A}"/>
              </a:ext>
            </a:extLst>
          </p:cNvPr>
          <p:cNvSpPr/>
          <p:nvPr/>
        </p:nvSpPr>
        <p:spPr>
          <a:xfrm rot="5400000">
            <a:off x="5906873" y="5157087"/>
            <a:ext cx="1795189" cy="324736"/>
          </a:xfrm>
          <a:prstGeom prst="triangle">
            <a:avLst/>
          </a:prstGeom>
          <a:solidFill>
            <a:srgbClr val="EE29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8CB784C1-2626-4E1B-825F-D42B8D58836C}"/>
              </a:ext>
            </a:extLst>
          </p:cNvPr>
          <p:cNvSpPr/>
          <p:nvPr/>
        </p:nvSpPr>
        <p:spPr>
          <a:xfrm>
            <a:off x="7197620" y="1978784"/>
            <a:ext cx="4626982" cy="192360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algn="ctr" defTabSz="1219170">
              <a:buClr>
                <a:srgbClr val="FFFFFF"/>
              </a:buClr>
            </a:pPr>
            <a:r>
              <a:rPr lang="en-US" sz="1600" b="1" kern="0" dirty="0">
                <a:solidFill>
                  <a:srgbClr val="FF0000"/>
                </a:solidFill>
                <a:latin typeface="Unity" panose="020B0505030303020204" pitchFamily="34" charset="0"/>
                <a:sym typeface="Arial"/>
              </a:rPr>
              <a:t>1. AFFORDABILITY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B75E2418-1B17-40AC-A823-758CD46693C3}"/>
              </a:ext>
            </a:extLst>
          </p:cNvPr>
          <p:cNvSpPr/>
          <p:nvPr/>
        </p:nvSpPr>
        <p:spPr>
          <a:xfrm>
            <a:off x="7197621" y="4402815"/>
            <a:ext cx="4626981" cy="190816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algn="ctr" defTabSz="1219170">
              <a:buClr>
                <a:srgbClr val="FFFFFF"/>
              </a:buClr>
            </a:pPr>
            <a:r>
              <a:rPr lang="en-US" sz="1600" b="1" kern="0" dirty="0">
                <a:solidFill>
                  <a:srgbClr val="FF0000"/>
                </a:solidFill>
                <a:latin typeface="Unity" panose="020B0505030303020204" pitchFamily="34" charset="0"/>
                <a:sym typeface="Arial"/>
              </a:rPr>
              <a:t>2. PREMIUMIZATION</a:t>
            </a:r>
          </a:p>
        </p:txBody>
      </p:sp>
      <p:pic>
        <p:nvPicPr>
          <p:cNvPr id="139" name="Picture 5" descr="COKE PET 300ML">
            <a:extLst>
              <a:ext uri="{FF2B5EF4-FFF2-40B4-BE49-F238E27FC236}">
                <a16:creationId xmlns:a16="http://schemas.microsoft.com/office/drawing/2014/main" id="{A752F585-E358-4242-8A4C-5C0EC0384AC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9" r="22258"/>
          <a:stretch/>
        </p:blipFill>
        <p:spPr bwMode="auto">
          <a:xfrm>
            <a:off x="7577923" y="2365258"/>
            <a:ext cx="626508" cy="103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0" name="Picture 7" descr="Coca cola Vietnam 320ml: Buy Online at Best Prices in SriLanka | Daraz.lk">
            <a:extLst>
              <a:ext uri="{FF2B5EF4-FFF2-40B4-BE49-F238E27FC236}">
                <a16:creationId xmlns:a16="http://schemas.microsoft.com/office/drawing/2014/main" id="{AC672B32-BB56-489E-8DFA-40DC1150FF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03" r="20077"/>
          <a:stretch/>
        </p:blipFill>
        <p:spPr bwMode="auto">
          <a:xfrm>
            <a:off x="9603107" y="2344846"/>
            <a:ext cx="697483" cy="107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10" descr="COCA COLA PET 850ML.. 10552974157 - Allegro.pl">
            <a:extLst>
              <a:ext uri="{FF2B5EF4-FFF2-40B4-BE49-F238E27FC236}">
                <a16:creationId xmlns:a16="http://schemas.microsoft.com/office/drawing/2014/main" id="{1978446F-E06B-45BF-AC41-2D2D2884D8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94" t="-1289" r="25093" b="-1"/>
          <a:stretch/>
        </p:blipFill>
        <p:spPr bwMode="auto">
          <a:xfrm>
            <a:off x="8677176" y="2444118"/>
            <a:ext cx="453186" cy="879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B2E35A8A-D854-4B6E-B093-B471CE7F214C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26538" t="22503" r="68779" b="51206"/>
          <a:stretch/>
        </p:blipFill>
        <p:spPr>
          <a:xfrm>
            <a:off x="10773336" y="2420046"/>
            <a:ext cx="310885" cy="927286"/>
          </a:xfrm>
          <a:prstGeom prst="rect">
            <a:avLst/>
          </a:prstGeom>
        </p:spPr>
      </p:pic>
      <p:pic>
        <p:nvPicPr>
          <p:cNvPr id="157" name="Picture 7" descr="Coca cola Vietnam 320ml: Buy Online at Best Prices in SriLanka | Daraz.lk">
            <a:extLst>
              <a:ext uri="{FF2B5EF4-FFF2-40B4-BE49-F238E27FC236}">
                <a16:creationId xmlns:a16="http://schemas.microsoft.com/office/drawing/2014/main" id="{D6212CCD-7CCF-4CBF-B810-A96D98E8EE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87" r="20076"/>
          <a:stretch/>
        </p:blipFill>
        <p:spPr bwMode="auto">
          <a:xfrm>
            <a:off x="7419919" y="4847404"/>
            <a:ext cx="610143" cy="117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DC417DA-4684-4CB6-9B55-5A2E3A5EEF5F}"/>
              </a:ext>
            </a:extLst>
          </p:cNvPr>
          <p:cNvSpPr txBox="1"/>
          <p:nvPr/>
        </p:nvSpPr>
        <p:spPr>
          <a:xfrm>
            <a:off x="7473223" y="3425006"/>
            <a:ext cx="861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Unity" panose="020B0505030303020204" pitchFamily="34" charset="0"/>
              </a:rPr>
              <a:t>PET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5FDE961B-75EA-4F7A-B60C-F22DDB393561}"/>
              </a:ext>
            </a:extLst>
          </p:cNvPr>
          <p:cNvSpPr txBox="1"/>
          <p:nvPr/>
        </p:nvSpPr>
        <p:spPr>
          <a:xfrm>
            <a:off x="8485816" y="3374206"/>
            <a:ext cx="8613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Unity" panose="020B0505030303020204" pitchFamily="34" charset="0"/>
              </a:rPr>
              <a:t>PET ASSP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ECAF016B-398A-467B-9965-6123AA8968D6}"/>
              </a:ext>
            </a:extLst>
          </p:cNvPr>
          <p:cNvSpPr txBox="1"/>
          <p:nvPr/>
        </p:nvSpPr>
        <p:spPr>
          <a:xfrm>
            <a:off x="9498409" y="3425006"/>
            <a:ext cx="861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Unity" panose="020B0505030303020204" pitchFamily="34" charset="0"/>
              </a:rPr>
              <a:t>CAN</a:t>
            </a:r>
            <a:endParaRPr lang="en-US" sz="1400" b="1" dirty="0">
              <a:latin typeface="Unity" panose="020B0505030303020204" pitchFamily="34" charset="0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AE8344C2-91D5-480B-858F-50C05F49FCFD}"/>
              </a:ext>
            </a:extLst>
          </p:cNvPr>
          <p:cNvSpPr txBox="1"/>
          <p:nvPr/>
        </p:nvSpPr>
        <p:spPr>
          <a:xfrm>
            <a:off x="10523768" y="3425006"/>
            <a:ext cx="861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Unity" panose="020B0505030303020204" pitchFamily="34" charset="0"/>
              </a:rPr>
              <a:t>RGB</a:t>
            </a:r>
            <a:endParaRPr lang="en-US" sz="1400" b="1" dirty="0">
              <a:latin typeface="Unity" panose="020B0505030303020204" pitchFamily="34" charset="0"/>
            </a:endParaRPr>
          </a:p>
        </p:txBody>
      </p:sp>
      <p:pic>
        <p:nvPicPr>
          <p:cNvPr id="146" name="Imagen 37">
            <a:extLst>
              <a:ext uri="{FF2B5EF4-FFF2-40B4-BE49-F238E27FC236}">
                <a16:creationId xmlns:a16="http://schemas.microsoft.com/office/drawing/2014/main" id="{15935525-2E62-4529-84C6-366B528558A7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4172" y="4732639"/>
            <a:ext cx="891221" cy="117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2BD0BBFD-1823-423F-B98E-C6B6CD74531C}"/>
              </a:ext>
            </a:extLst>
          </p:cNvPr>
          <p:cNvSpPr txBox="1"/>
          <p:nvPr/>
        </p:nvSpPr>
        <p:spPr>
          <a:xfrm>
            <a:off x="9993573" y="5841772"/>
            <a:ext cx="18233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>
                <a:latin typeface="Unity" panose="020B0505030303020204" pitchFamily="34" charset="0"/>
              </a:rPr>
              <a:t>PERFECT SERVE WITH SOCIALIZATION BUNDLE</a:t>
            </a:r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12CA3E30-0ED7-4EE8-955B-740E303D1F56}"/>
              </a:ext>
            </a:extLst>
          </p:cNvPr>
          <p:cNvSpPr/>
          <p:nvPr/>
        </p:nvSpPr>
        <p:spPr>
          <a:xfrm>
            <a:off x="11138636" y="4679382"/>
            <a:ext cx="335537" cy="300952"/>
          </a:xfrm>
          <a:prstGeom prst="star5">
            <a:avLst/>
          </a:prstGeom>
          <a:solidFill>
            <a:srgbClr val="FFFF00"/>
          </a:solidFill>
          <a:ln w="28575">
            <a:solidFill>
              <a:srgbClr val="43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sp>
        <p:nvSpPr>
          <p:cNvPr id="156" name="Star: 5 Points 155">
            <a:extLst>
              <a:ext uri="{FF2B5EF4-FFF2-40B4-BE49-F238E27FC236}">
                <a16:creationId xmlns:a16="http://schemas.microsoft.com/office/drawing/2014/main" id="{66476787-8B3C-4494-9AB5-90BCBC940134}"/>
              </a:ext>
            </a:extLst>
          </p:cNvPr>
          <p:cNvSpPr/>
          <p:nvPr/>
        </p:nvSpPr>
        <p:spPr>
          <a:xfrm>
            <a:off x="11138636" y="2401926"/>
            <a:ext cx="335537" cy="300952"/>
          </a:xfrm>
          <a:prstGeom prst="star5">
            <a:avLst>
              <a:gd name="adj" fmla="val 16143"/>
              <a:gd name="hf" fmla="val 105146"/>
              <a:gd name="vf" fmla="val 110557"/>
            </a:avLst>
          </a:prstGeom>
          <a:solidFill>
            <a:srgbClr val="FFFF00"/>
          </a:solidFill>
          <a:ln w="28575">
            <a:solidFill>
              <a:srgbClr val="43434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H"/>
          </a:p>
        </p:txBody>
      </p:sp>
      <p:pic>
        <p:nvPicPr>
          <p:cNvPr id="158" name="Picture 5" descr="COKE PET 300ML">
            <a:extLst>
              <a:ext uri="{FF2B5EF4-FFF2-40B4-BE49-F238E27FC236}">
                <a16:creationId xmlns:a16="http://schemas.microsoft.com/office/drawing/2014/main" id="{54F5C15A-9673-4AB3-A388-49DE68368F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43" r="33022"/>
          <a:stretch/>
        </p:blipFill>
        <p:spPr bwMode="auto">
          <a:xfrm>
            <a:off x="7934500" y="4890949"/>
            <a:ext cx="394369" cy="1036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193" name="Picture 25" descr="Fountain Drinks | House of India pa">
            <a:extLst>
              <a:ext uri="{FF2B5EF4-FFF2-40B4-BE49-F238E27FC236}">
                <a16:creationId xmlns:a16="http://schemas.microsoft.com/office/drawing/2014/main" id="{05B49736-82DD-433D-A557-D941C75E97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3" r="20547"/>
          <a:stretch/>
        </p:blipFill>
        <p:spPr bwMode="auto">
          <a:xfrm>
            <a:off x="8408328" y="4950138"/>
            <a:ext cx="550335" cy="908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195" name="Picture 27" descr="63 Plastic Glass Filled With Ice And Cola Stock Photos, Pictures &amp;  Royalty-Free Images - iStock">
            <a:extLst>
              <a:ext uri="{FF2B5EF4-FFF2-40B4-BE49-F238E27FC236}">
                <a16:creationId xmlns:a16="http://schemas.microsoft.com/office/drawing/2014/main" id="{4E46C41F-EE8C-480F-9308-CB6CFBCDDD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5357" b="90306" l="9804" r="89706">
                        <a14:foregroundMark x1="49673" y1="31122" x2="51144" y2="16327"/>
                        <a14:foregroundMark x1="51144" y1="16327" x2="58660" y2="10714"/>
                        <a14:foregroundMark x1="65520" y1="9184" x2="68954" y2="8418"/>
                        <a14:foregroundMark x1="58660" y1="10714" x2="65520" y2="9184"/>
                        <a14:foregroundMark x1="68954" y1="8418" x2="68954" y2="8418"/>
                        <a14:foregroundMark x1="43791" y1="90051" x2="57516" y2="90816"/>
                        <a14:foregroundMark x1="57516" y1="90816" x2="57843" y2="89031"/>
                        <a14:foregroundMark x1="65942" y1="8163" x2="67974" y2="7653"/>
                        <a14:foregroundMark x1="58824" y1="9949" x2="65942" y2="8163"/>
                        <a14:foregroundMark x1="66176" y1="5867" x2="67484" y2="5357"/>
                        <a14:foregroundMark x1="51269" y1="32398" x2="59150" y2="35204"/>
                        <a14:foregroundMark x1="49837" y1="31888" x2="51269" y2="32398"/>
                        <a14:backgroundMark x1="66013" y1="87755" x2="65359" y2="94133"/>
                        <a14:backgroundMark x1="68464" y1="9184" x2="68464" y2="9184"/>
                        <a14:backgroundMark x1="68954" y1="8163" x2="68954" y2="8163"/>
                        <a14:backgroundMark x1="51471" y1="32398" x2="51471" y2="3239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439" r="30454"/>
          <a:stretch/>
        </p:blipFill>
        <p:spPr bwMode="auto">
          <a:xfrm>
            <a:off x="9520664" y="4647194"/>
            <a:ext cx="695723" cy="1200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9" name="TextBox 158">
            <a:extLst>
              <a:ext uri="{FF2B5EF4-FFF2-40B4-BE49-F238E27FC236}">
                <a16:creationId xmlns:a16="http://schemas.microsoft.com/office/drawing/2014/main" id="{795B69FF-85F7-4EFB-BA71-1BA5D0E2C70E}"/>
              </a:ext>
            </a:extLst>
          </p:cNvPr>
          <p:cNvSpPr txBox="1"/>
          <p:nvPr/>
        </p:nvSpPr>
        <p:spPr>
          <a:xfrm>
            <a:off x="7574555" y="5961932"/>
            <a:ext cx="23711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Unity" panose="020B0505030303020204" pitchFamily="34" charset="0"/>
              </a:rPr>
              <a:t>CURRENT</a:t>
            </a:r>
          </a:p>
        </p:txBody>
      </p:sp>
      <p:pic>
        <p:nvPicPr>
          <p:cNvPr id="135202" name="Picture 34" descr="Refreshing Ice Cube Coca-Cola Glass - YouTube">
            <a:extLst>
              <a:ext uri="{FF2B5EF4-FFF2-40B4-BE49-F238E27FC236}">
                <a16:creationId xmlns:a16="http://schemas.microsoft.com/office/drawing/2014/main" id="{A3D6A3AE-BA7C-4B20-9CE2-CF2808089D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1944" b="99306" l="10000" r="90000">
                        <a14:foregroundMark x1="38750" y1="7778" x2="55547" y2="7778"/>
                        <a14:foregroundMark x1="44531" y1="93611" x2="53125" y2="92361"/>
                        <a14:foregroundMark x1="49130" y1="97855" x2="53125" y2="97361"/>
                        <a14:foregroundMark x1="53125" y1="97361" x2="53750" y2="99444"/>
                        <a14:foregroundMark x1="44297" y1="84444" x2="41660" y2="92695"/>
                        <a14:foregroundMark x1="58281" y1="79167" x2="59453" y2="86944"/>
                        <a14:foregroundMark x1="59453" y1="86944" x2="59297" y2="88750"/>
                        <a14:foregroundMark x1="53984" y1="2500" x2="53984" y2="2500"/>
                        <a14:foregroundMark x1="53828" y1="2500" x2="53828" y2="1944"/>
                        <a14:backgroundMark x1="40391" y1="94306" x2="43516" y2="99167"/>
                        <a14:backgroundMark x1="40625" y1="94028" x2="45156" y2="99167"/>
                        <a14:backgroundMark x1="37969" y1="93194" x2="42891" y2="97639"/>
                        <a14:backgroundMark x1="42891" y1="97639" x2="42891" y2="97639"/>
                        <a14:backgroundMark x1="45000" y1="99861" x2="40703" y2="94861"/>
                        <a14:backgroundMark x1="44688" y1="99167" x2="48359" y2="998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707" r="35570"/>
          <a:stretch/>
        </p:blipFill>
        <p:spPr bwMode="auto">
          <a:xfrm>
            <a:off x="8997691" y="4961502"/>
            <a:ext cx="475126" cy="842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0" name="Group 189">
            <a:extLst>
              <a:ext uri="{FF2B5EF4-FFF2-40B4-BE49-F238E27FC236}">
                <a16:creationId xmlns:a16="http://schemas.microsoft.com/office/drawing/2014/main" id="{D0084AF2-19FB-4AC8-804F-B263910D1FD8}"/>
              </a:ext>
            </a:extLst>
          </p:cNvPr>
          <p:cNvGrpSpPr/>
          <p:nvPr/>
        </p:nvGrpSpPr>
        <p:grpSpPr>
          <a:xfrm>
            <a:off x="1777091" y="2593795"/>
            <a:ext cx="2649461" cy="523138"/>
            <a:chOff x="1870472" y="3956668"/>
            <a:chExt cx="2649461" cy="523138"/>
          </a:xfrm>
        </p:grpSpPr>
        <p:pic>
          <p:nvPicPr>
            <p:cNvPr id="191" name="Graphic 190" descr="Man with solid fill">
              <a:extLst>
                <a:ext uri="{FF2B5EF4-FFF2-40B4-BE49-F238E27FC236}">
                  <a16:creationId xmlns:a16="http://schemas.microsoft.com/office/drawing/2014/main" id="{47E83E32-61E5-45EB-82C6-38855937D1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870472" y="3956671"/>
              <a:ext cx="472891" cy="522707"/>
            </a:xfrm>
            <a:prstGeom prst="rect">
              <a:avLst/>
            </a:prstGeom>
          </p:spPr>
        </p:pic>
        <p:pic>
          <p:nvPicPr>
            <p:cNvPr id="192" name="Graphic 191" descr="Man with solid fill">
              <a:extLst>
                <a:ext uri="{FF2B5EF4-FFF2-40B4-BE49-F238E27FC236}">
                  <a16:creationId xmlns:a16="http://schemas.microsoft.com/office/drawing/2014/main" id="{DAF9BD88-6978-4AF2-8E9F-12AFFC017E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112315" y="3957096"/>
              <a:ext cx="472891" cy="522707"/>
            </a:xfrm>
            <a:prstGeom prst="rect">
              <a:avLst/>
            </a:prstGeom>
          </p:spPr>
        </p:pic>
        <p:pic>
          <p:nvPicPr>
            <p:cNvPr id="193" name="Graphic 192" descr="Man with solid fill">
              <a:extLst>
                <a:ext uri="{FF2B5EF4-FFF2-40B4-BE49-F238E27FC236}">
                  <a16:creationId xmlns:a16="http://schemas.microsoft.com/office/drawing/2014/main" id="{05E52B0D-5B10-4102-BD88-090361857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354155" y="3956671"/>
              <a:ext cx="472891" cy="522707"/>
            </a:xfrm>
            <a:prstGeom prst="rect">
              <a:avLst/>
            </a:prstGeom>
          </p:spPr>
        </p:pic>
        <p:pic>
          <p:nvPicPr>
            <p:cNvPr id="194" name="Graphic 193" descr="Man with solid fill">
              <a:extLst>
                <a:ext uri="{FF2B5EF4-FFF2-40B4-BE49-F238E27FC236}">
                  <a16:creationId xmlns:a16="http://schemas.microsoft.com/office/drawing/2014/main" id="{74FA6E21-9D70-4BF6-9366-2CB13581ED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595996" y="3957097"/>
              <a:ext cx="472891" cy="522709"/>
            </a:xfrm>
            <a:prstGeom prst="rect">
              <a:avLst/>
            </a:prstGeom>
          </p:spPr>
        </p:pic>
        <p:pic>
          <p:nvPicPr>
            <p:cNvPr id="195" name="Graphic 194" descr="Man with solid fill">
              <a:extLst>
                <a:ext uri="{FF2B5EF4-FFF2-40B4-BE49-F238E27FC236}">
                  <a16:creationId xmlns:a16="http://schemas.microsoft.com/office/drawing/2014/main" id="{03A3366D-D90B-4E9F-8D33-8EB232EFAC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837837" y="3956672"/>
              <a:ext cx="472890" cy="522709"/>
            </a:xfrm>
            <a:prstGeom prst="rect">
              <a:avLst/>
            </a:prstGeom>
          </p:spPr>
        </p:pic>
        <p:pic>
          <p:nvPicPr>
            <p:cNvPr id="196" name="Graphic 195" descr="Man with solid fill">
              <a:extLst>
                <a:ext uri="{FF2B5EF4-FFF2-40B4-BE49-F238E27FC236}">
                  <a16:creationId xmlns:a16="http://schemas.microsoft.com/office/drawing/2014/main" id="{25F18023-35CD-4136-A02D-9D13A8D14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079678" y="3957096"/>
              <a:ext cx="472890" cy="522707"/>
            </a:xfrm>
            <a:prstGeom prst="rect">
              <a:avLst/>
            </a:prstGeom>
          </p:spPr>
        </p:pic>
        <p:pic>
          <p:nvPicPr>
            <p:cNvPr id="197" name="Graphic 196" descr="Man with solid fill">
              <a:extLst>
                <a:ext uri="{FF2B5EF4-FFF2-40B4-BE49-F238E27FC236}">
                  <a16:creationId xmlns:a16="http://schemas.microsoft.com/office/drawing/2014/main" id="{82C83ABF-3414-4B37-9F98-9017EF951E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321519" y="3956671"/>
              <a:ext cx="472890" cy="522707"/>
            </a:xfrm>
            <a:prstGeom prst="rect">
              <a:avLst/>
            </a:prstGeom>
          </p:spPr>
        </p:pic>
        <p:pic>
          <p:nvPicPr>
            <p:cNvPr id="198" name="Graphic 197" descr="Man with solid fill">
              <a:extLst>
                <a:ext uri="{FF2B5EF4-FFF2-40B4-BE49-F238E27FC236}">
                  <a16:creationId xmlns:a16="http://schemas.microsoft.com/office/drawing/2014/main" id="{B97F107F-97DF-43FC-A68E-DF03B6B334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563359" y="3956671"/>
              <a:ext cx="472890" cy="522707"/>
            </a:xfrm>
            <a:prstGeom prst="rect">
              <a:avLst/>
            </a:prstGeom>
          </p:spPr>
        </p:pic>
        <p:pic>
          <p:nvPicPr>
            <p:cNvPr id="199" name="Graphic 198" descr="Man with solid fill">
              <a:extLst>
                <a:ext uri="{FF2B5EF4-FFF2-40B4-BE49-F238E27FC236}">
                  <a16:creationId xmlns:a16="http://schemas.microsoft.com/office/drawing/2014/main" id="{34E05CD1-A689-470F-8527-AAF177CA69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805199" y="3956668"/>
              <a:ext cx="472890" cy="522707"/>
            </a:xfrm>
            <a:prstGeom prst="rect">
              <a:avLst/>
            </a:prstGeom>
          </p:spPr>
        </p:pic>
        <p:pic>
          <p:nvPicPr>
            <p:cNvPr id="200" name="Graphic 199" descr="Man with solid fill">
              <a:extLst>
                <a:ext uri="{FF2B5EF4-FFF2-40B4-BE49-F238E27FC236}">
                  <a16:creationId xmlns:a16="http://schemas.microsoft.com/office/drawing/2014/main" id="{62472E1D-CBDA-484F-AA63-454517140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047043" y="3956669"/>
              <a:ext cx="472890" cy="522707"/>
            </a:xfrm>
            <a:prstGeom prst="rect">
              <a:avLst/>
            </a:prstGeom>
          </p:spPr>
        </p:pic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D95F2242-2B50-45E0-8EF6-72080A0F2F02}"/>
              </a:ext>
            </a:extLst>
          </p:cNvPr>
          <p:cNvGrpSpPr/>
          <p:nvPr/>
        </p:nvGrpSpPr>
        <p:grpSpPr>
          <a:xfrm>
            <a:off x="2188388" y="5335900"/>
            <a:ext cx="1859303" cy="523133"/>
            <a:chOff x="620646" y="3845566"/>
            <a:chExt cx="1394476" cy="392350"/>
          </a:xfrm>
          <a:solidFill>
            <a:srgbClr val="ED1F24"/>
          </a:solidFill>
        </p:grpSpPr>
        <p:pic>
          <p:nvPicPr>
            <p:cNvPr id="202" name="Graphic 201" descr="Man with solid fill">
              <a:extLst>
                <a:ext uri="{FF2B5EF4-FFF2-40B4-BE49-F238E27FC236}">
                  <a16:creationId xmlns:a16="http://schemas.microsoft.com/office/drawing/2014/main" id="{E51A9428-6997-48CF-B3F0-92664D43B2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0646" y="3845885"/>
              <a:ext cx="392031" cy="392031"/>
            </a:xfrm>
            <a:prstGeom prst="rect">
              <a:avLst/>
            </a:prstGeom>
          </p:spPr>
        </p:pic>
        <p:pic>
          <p:nvPicPr>
            <p:cNvPr id="203" name="Graphic 202" descr="Man with solid fill">
              <a:extLst>
                <a:ext uri="{FF2B5EF4-FFF2-40B4-BE49-F238E27FC236}">
                  <a16:creationId xmlns:a16="http://schemas.microsoft.com/office/drawing/2014/main" id="{9D4344B2-44EF-430C-941E-712D91343A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135" y="3845566"/>
              <a:ext cx="392031" cy="392031"/>
            </a:xfrm>
            <a:prstGeom prst="rect">
              <a:avLst/>
            </a:prstGeom>
          </p:spPr>
        </p:pic>
        <p:pic>
          <p:nvPicPr>
            <p:cNvPr id="204" name="Graphic 203" descr="Man with solid fill">
              <a:extLst>
                <a:ext uri="{FF2B5EF4-FFF2-40B4-BE49-F238E27FC236}">
                  <a16:creationId xmlns:a16="http://schemas.microsoft.com/office/drawing/2014/main" id="{C26BF296-26D2-4887-8D15-434A8488938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21624" y="3845885"/>
              <a:ext cx="392031" cy="392031"/>
            </a:xfrm>
            <a:prstGeom prst="rect">
              <a:avLst/>
            </a:prstGeom>
          </p:spPr>
        </p:pic>
        <p:pic>
          <p:nvPicPr>
            <p:cNvPr id="205" name="Graphic 204" descr="Man with solid fill">
              <a:extLst>
                <a:ext uri="{FF2B5EF4-FFF2-40B4-BE49-F238E27FC236}">
                  <a16:creationId xmlns:a16="http://schemas.microsoft.com/office/drawing/2014/main" id="{8BDC5EFF-2F1C-4097-B934-D017C873C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22113" y="3845566"/>
              <a:ext cx="392031" cy="392031"/>
            </a:xfrm>
            <a:prstGeom prst="rect">
              <a:avLst/>
            </a:prstGeom>
          </p:spPr>
        </p:pic>
        <p:pic>
          <p:nvPicPr>
            <p:cNvPr id="206" name="Graphic 205" descr="Man with solid fill">
              <a:extLst>
                <a:ext uri="{FF2B5EF4-FFF2-40B4-BE49-F238E27FC236}">
                  <a16:creationId xmlns:a16="http://schemas.microsoft.com/office/drawing/2014/main" id="{45705F78-9CD6-4F2A-A5EC-830248AFA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422602" y="3845885"/>
              <a:ext cx="392031" cy="392031"/>
            </a:xfrm>
            <a:prstGeom prst="rect">
              <a:avLst/>
            </a:prstGeom>
          </p:spPr>
        </p:pic>
        <p:pic>
          <p:nvPicPr>
            <p:cNvPr id="207" name="Graphic 206" descr="Man with solid fill">
              <a:extLst>
                <a:ext uri="{FF2B5EF4-FFF2-40B4-BE49-F238E27FC236}">
                  <a16:creationId xmlns:a16="http://schemas.microsoft.com/office/drawing/2014/main" id="{30DE06B8-5CC2-49F3-A684-FA64EC5F0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623091" y="3845566"/>
              <a:ext cx="392031" cy="392031"/>
            </a:xfrm>
            <a:prstGeom prst="rect">
              <a:avLst/>
            </a:prstGeom>
          </p:spPr>
        </p:pic>
      </p:grpSp>
      <p:grpSp>
        <p:nvGrpSpPr>
          <p:cNvPr id="208" name="Group 207">
            <a:extLst>
              <a:ext uri="{FF2B5EF4-FFF2-40B4-BE49-F238E27FC236}">
                <a16:creationId xmlns:a16="http://schemas.microsoft.com/office/drawing/2014/main" id="{AF07326F-E9E0-4022-92F1-4C66F64DC66B}"/>
              </a:ext>
            </a:extLst>
          </p:cNvPr>
          <p:cNvGrpSpPr/>
          <p:nvPr/>
        </p:nvGrpSpPr>
        <p:grpSpPr>
          <a:xfrm>
            <a:off x="1599630" y="3904154"/>
            <a:ext cx="3195902" cy="523133"/>
            <a:chOff x="620646" y="1657076"/>
            <a:chExt cx="2396924" cy="392350"/>
          </a:xfrm>
          <a:solidFill>
            <a:srgbClr val="ED1F24"/>
          </a:solidFill>
        </p:grpSpPr>
        <p:pic>
          <p:nvPicPr>
            <p:cNvPr id="209" name="Graphic 208" descr="Man with solid fill">
              <a:extLst>
                <a:ext uri="{FF2B5EF4-FFF2-40B4-BE49-F238E27FC236}">
                  <a16:creationId xmlns:a16="http://schemas.microsoft.com/office/drawing/2014/main" id="{5892B1E9-90D0-401F-898A-0DD8DF8F71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0646" y="1657395"/>
              <a:ext cx="392031" cy="392031"/>
            </a:xfrm>
            <a:prstGeom prst="rect">
              <a:avLst/>
            </a:prstGeom>
          </p:spPr>
        </p:pic>
        <p:pic>
          <p:nvPicPr>
            <p:cNvPr id="210" name="Graphic 209" descr="Man with solid fill">
              <a:extLst>
                <a:ext uri="{FF2B5EF4-FFF2-40B4-BE49-F238E27FC236}">
                  <a16:creationId xmlns:a16="http://schemas.microsoft.com/office/drawing/2014/main" id="{EE728F39-CEF0-4497-AF7C-7DD0161D1A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21135" y="1657076"/>
              <a:ext cx="392031" cy="392031"/>
            </a:xfrm>
            <a:prstGeom prst="rect">
              <a:avLst/>
            </a:prstGeom>
          </p:spPr>
        </p:pic>
        <p:pic>
          <p:nvPicPr>
            <p:cNvPr id="211" name="Graphic 210" descr="Man with solid fill">
              <a:extLst>
                <a:ext uri="{FF2B5EF4-FFF2-40B4-BE49-F238E27FC236}">
                  <a16:creationId xmlns:a16="http://schemas.microsoft.com/office/drawing/2014/main" id="{E259F2CC-04C1-46E3-B8B9-112E208465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21624" y="1657395"/>
              <a:ext cx="392031" cy="392031"/>
            </a:xfrm>
            <a:prstGeom prst="rect">
              <a:avLst/>
            </a:prstGeom>
          </p:spPr>
        </p:pic>
        <p:pic>
          <p:nvPicPr>
            <p:cNvPr id="212" name="Graphic 211" descr="Man with solid fill">
              <a:extLst>
                <a:ext uri="{FF2B5EF4-FFF2-40B4-BE49-F238E27FC236}">
                  <a16:creationId xmlns:a16="http://schemas.microsoft.com/office/drawing/2014/main" id="{D090393A-3228-4140-A7CA-96BA5C577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22113" y="1657076"/>
              <a:ext cx="392031" cy="392031"/>
            </a:xfrm>
            <a:prstGeom prst="rect">
              <a:avLst/>
            </a:prstGeom>
          </p:spPr>
        </p:pic>
        <p:pic>
          <p:nvPicPr>
            <p:cNvPr id="213" name="Graphic 212" descr="Man with solid fill">
              <a:extLst>
                <a:ext uri="{FF2B5EF4-FFF2-40B4-BE49-F238E27FC236}">
                  <a16:creationId xmlns:a16="http://schemas.microsoft.com/office/drawing/2014/main" id="{C984A7CC-44B1-42C1-A929-27F703C42F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422602" y="1657395"/>
              <a:ext cx="392031" cy="392031"/>
            </a:xfrm>
            <a:prstGeom prst="rect">
              <a:avLst/>
            </a:prstGeom>
          </p:spPr>
        </p:pic>
        <p:pic>
          <p:nvPicPr>
            <p:cNvPr id="214" name="Graphic 213" descr="Man with solid fill">
              <a:extLst>
                <a:ext uri="{FF2B5EF4-FFF2-40B4-BE49-F238E27FC236}">
                  <a16:creationId xmlns:a16="http://schemas.microsoft.com/office/drawing/2014/main" id="{0CD7DDBE-3AC3-4170-84FF-58DD915D9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623091" y="1657076"/>
              <a:ext cx="392031" cy="392031"/>
            </a:xfrm>
            <a:prstGeom prst="rect">
              <a:avLst/>
            </a:prstGeom>
          </p:spPr>
        </p:pic>
        <p:pic>
          <p:nvPicPr>
            <p:cNvPr id="215" name="Graphic 214" descr="Man with solid fill">
              <a:extLst>
                <a:ext uri="{FF2B5EF4-FFF2-40B4-BE49-F238E27FC236}">
                  <a16:creationId xmlns:a16="http://schemas.microsoft.com/office/drawing/2014/main" id="{F7DF6856-A4FB-4CAF-B16D-6F391834A8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823580" y="1657395"/>
              <a:ext cx="392031" cy="392031"/>
            </a:xfrm>
            <a:prstGeom prst="rect">
              <a:avLst/>
            </a:prstGeom>
          </p:spPr>
        </p:pic>
        <p:pic>
          <p:nvPicPr>
            <p:cNvPr id="216" name="Graphic 215" descr="Man with solid fill">
              <a:extLst>
                <a:ext uri="{FF2B5EF4-FFF2-40B4-BE49-F238E27FC236}">
                  <a16:creationId xmlns:a16="http://schemas.microsoft.com/office/drawing/2014/main" id="{FD8A86CD-694D-4D58-A7F6-09227BFC4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024069" y="1657076"/>
              <a:ext cx="392031" cy="392031"/>
            </a:xfrm>
            <a:prstGeom prst="rect">
              <a:avLst/>
            </a:prstGeom>
          </p:spPr>
        </p:pic>
        <p:pic>
          <p:nvPicPr>
            <p:cNvPr id="217" name="Graphic 216" descr="Man with solid fill">
              <a:extLst>
                <a:ext uri="{FF2B5EF4-FFF2-40B4-BE49-F238E27FC236}">
                  <a16:creationId xmlns:a16="http://schemas.microsoft.com/office/drawing/2014/main" id="{89039EB3-0181-49A8-A2EE-DCCC211F59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224558" y="1657076"/>
              <a:ext cx="392031" cy="392031"/>
            </a:xfrm>
            <a:prstGeom prst="rect">
              <a:avLst/>
            </a:prstGeom>
          </p:spPr>
        </p:pic>
        <p:pic>
          <p:nvPicPr>
            <p:cNvPr id="218" name="Graphic 217" descr="Man with solid fill">
              <a:extLst>
                <a:ext uri="{FF2B5EF4-FFF2-40B4-BE49-F238E27FC236}">
                  <a16:creationId xmlns:a16="http://schemas.microsoft.com/office/drawing/2014/main" id="{94D0833C-9BBD-40A7-8D83-B1065DBA67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425047" y="1657076"/>
              <a:ext cx="392031" cy="392031"/>
            </a:xfrm>
            <a:prstGeom prst="rect">
              <a:avLst/>
            </a:prstGeom>
          </p:spPr>
        </p:pic>
        <p:pic>
          <p:nvPicPr>
            <p:cNvPr id="219" name="Graphic 218" descr="Man with solid fill">
              <a:extLst>
                <a:ext uri="{FF2B5EF4-FFF2-40B4-BE49-F238E27FC236}">
                  <a16:creationId xmlns:a16="http://schemas.microsoft.com/office/drawing/2014/main" id="{0F63AE93-00C1-405F-B1EC-D7DB6FDDEA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625539" y="1657076"/>
              <a:ext cx="392031" cy="3920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9875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B8BA33-B3CF-41EA-9E35-4653D04027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647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B8BA33-B3CF-41EA-9E35-4653D0402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65F50D6-5BA4-B649-E67C-5C9F6C7DA757}"/>
              </a:ext>
            </a:extLst>
          </p:cNvPr>
          <p:cNvSpPr txBox="1"/>
          <p:nvPr/>
        </p:nvSpPr>
        <p:spPr>
          <a:xfrm>
            <a:off x="1659107" y="3270881"/>
            <a:ext cx="94448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02</a:t>
            </a:r>
          </a:p>
        </p:txBody>
      </p:sp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D5126869-1ABF-47DC-9022-A9052DC14F87}"/>
              </a:ext>
            </a:extLst>
          </p:cNvPr>
          <p:cNvSpPr txBox="1"/>
          <p:nvPr/>
        </p:nvSpPr>
        <p:spPr>
          <a:xfrm>
            <a:off x="2131352" y="454466"/>
            <a:ext cx="9209748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2400" b="1" kern="0">
                <a:solidFill>
                  <a:srgbClr val="000000"/>
                </a:solidFill>
                <a:latin typeface="Unity" panose="020B0505030303020204" pitchFamily="34" charset="0"/>
                <a:ea typeface="Lexend"/>
                <a:cs typeface="Lexend"/>
                <a:sym typeface="Lexend"/>
              </a:rPr>
              <a:t>SUMMARY OF ACHIEVEMENTS &amp; LEARNINGS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pic>
        <p:nvPicPr>
          <p:cNvPr id="46086" name="Picture 6" descr="Round icon. Illustration of flag of Spain">
            <a:extLst>
              <a:ext uri="{FF2B5EF4-FFF2-40B4-BE49-F238E27FC236}">
                <a16:creationId xmlns:a16="http://schemas.microsoft.com/office/drawing/2014/main" id="{EC96E369-96FB-45B2-B89A-EDDBA6B24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216" b="92784" l="9653" r="89575">
                        <a14:foregroundMark x1="41313" y1="91237" x2="61390" y2="92784"/>
                        <a14:foregroundMark x1="44788" y1="8247" x2="55985" y2="72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33" y="3172582"/>
            <a:ext cx="1265948" cy="94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Shape, rectangle&#10;&#10;Description automatically generated">
            <a:extLst>
              <a:ext uri="{FF2B5EF4-FFF2-40B4-BE49-F238E27FC236}">
                <a16:creationId xmlns:a16="http://schemas.microsoft.com/office/drawing/2014/main" id="{C1C691CA-0B20-61A5-7460-91D4DF8FC5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V="1">
            <a:off x="2712294" y="2046020"/>
            <a:ext cx="3162141" cy="48310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88E48D-D45D-44A5-58A2-ACEB55348976}"/>
              </a:ext>
            </a:extLst>
          </p:cNvPr>
          <p:cNvSpPr txBox="1"/>
          <p:nvPr/>
        </p:nvSpPr>
        <p:spPr>
          <a:xfrm>
            <a:off x="2702560" y="2067900"/>
            <a:ext cx="31816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ACHIEVEMEN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658CF9A-A394-473E-A194-8E0234669C41}"/>
              </a:ext>
            </a:extLst>
          </p:cNvPr>
          <p:cNvSpPr/>
          <p:nvPr/>
        </p:nvSpPr>
        <p:spPr>
          <a:xfrm>
            <a:off x="2695516" y="2672925"/>
            <a:ext cx="3171876" cy="191786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b="1" dirty="0">
                <a:latin typeface="Unity" panose="020B0505030303020204" pitchFamily="34" charset="0"/>
              </a:rPr>
              <a:t>Reversed the 7-year trends of RGB </a:t>
            </a:r>
            <a:r>
              <a:rPr lang="en-US" sz="1400" dirty="0">
                <a:latin typeface="Unity" panose="020B0505030303020204" pitchFamily="34" charset="0"/>
              </a:rPr>
              <a:t>and grew net price by 7.1%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41% of Countries NSR comes from Returnable Glass Bott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2978A0B-8D0F-476B-8876-42CFECF0A49E}"/>
              </a:ext>
            </a:extLst>
          </p:cNvPr>
          <p:cNvGrpSpPr/>
          <p:nvPr/>
        </p:nvGrpSpPr>
        <p:grpSpPr>
          <a:xfrm>
            <a:off x="6026971" y="2046020"/>
            <a:ext cx="5483709" cy="483107"/>
            <a:chOff x="2926228" y="3867061"/>
            <a:chExt cx="4185036" cy="483107"/>
          </a:xfrm>
        </p:grpSpPr>
        <p:pic>
          <p:nvPicPr>
            <p:cNvPr id="20" name="Picture 19" descr="Shape, rectangle&#10;&#10;Description automatically generated">
              <a:extLst>
                <a:ext uri="{FF2B5EF4-FFF2-40B4-BE49-F238E27FC236}">
                  <a16:creationId xmlns:a16="http://schemas.microsoft.com/office/drawing/2014/main" id="{9A5F0D1E-1855-402E-B884-654A8FB70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flipV="1">
              <a:off x="2939032" y="3867061"/>
              <a:ext cx="4159427" cy="483107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43CD02D-8BAA-4526-882C-5AD0CE9DD272}"/>
                </a:ext>
              </a:extLst>
            </p:cNvPr>
            <p:cNvSpPr txBox="1"/>
            <p:nvPr/>
          </p:nvSpPr>
          <p:spPr>
            <a:xfrm>
              <a:off x="2926228" y="3888941"/>
              <a:ext cx="41850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prstClr val="white"/>
                  </a:solidFill>
                  <a:latin typeface="Unity" panose="020B0505030303020204" pitchFamily="34" charset="0"/>
                </a:rPr>
                <a:t>LEARNINGS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2CA2DD15-A94A-4D1B-AFB5-FBEF2F4DAFFB}"/>
              </a:ext>
            </a:extLst>
          </p:cNvPr>
          <p:cNvSpPr/>
          <p:nvPr/>
        </p:nvSpPr>
        <p:spPr>
          <a:xfrm>
            <a:off x="6026969" y="2672925"/>
            <a:ext cx="5466932" cy="191786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t"/>
          <a:lstStyle/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Consistent in Package communication (Training, Integrated MKT Campaigns, Picture of Success Execution, Compensation)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Perfect Serve creating Superior Experience for RGB</a:t>
            </a: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400" kern="0" dirty="0">
              <a:latin typeface="Unity" panose="020B0505030303020204" pitchFamily="34" charset="0"/>
              <a:sym typeface="Arial"/>
            </a:endParaRPr>
          </a:p>
          <a:p>
            <a:pPr marL="285750" indent="-285750" defTabSz="121917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400" kern="0" dirty="0">
                <a:latin typeface="Unity" panose="020B0505030303020204" pitchFamily="34" charset="0"/>
                <a:sym typeface="Arial"/>
              </a:rPr>
              <a:t>Select Carefully Partner Distributors (High Numeric Distribution of essential SKUs for the Channel)</a:t>
            </a:r>
          </a:p>
        </p:txBody>
      </p:sp>
    </p:spTree>
    <p:extLst>
      <p:ext uri="{BB962C8B-B14F-4D97-AF65-F5344CB8AC3E}">
        <p14:creationId xmlns:p14="http://schemas.microsoft.com/office/powerpoint/2010/main" val="961206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28CD139E-3591-424D-9608-A4D97FE797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6326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28CD139E-3591-424D-9608-A4D97FE797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g object 16">
            <a:extLst>
              <a:ext uri="{FF2B5EF4-FFF2-40B4-BE49-F238E27FC236}">
                <a16:creationId xmlns:a16="http://schemas.microsoft.com/office/drawing/2014/main" id="{FC7CE820-A11E-4E8D-B6B5-D7EE879936B8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" y="3746411"/>
            <a:ext cx="12156948" cy="3073400"/>
          </a:xfrm>
          <a:prstGeom prst="rect">
            <a:avLst/>
          </a:prstGeom>
        </p:spPr>
      </p:pic>
      <p:pic>
        <p:nvPicPr>
          <p:cNvPr id="15" name="bg object 17">
            <a:extLst>
              <a:ext uri="{FF2B5EF4-FFF2-40B4-BE49-F238E27FC236}">
                <a16:creationId xmlns:a16="http://schemas.microsoft.com/office/drawing/2014/main" id="{D58AF3B4-6126-4147-9262-F2F2EDD8DA70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761944" y="14"/>
            <a:ext cx="4650155" cy="6839991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741821" y="383186"/>
            <a:ext cx="3106459" cy="228741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defTabSz="914377">
              <a:spcBef>
                <a:spcPts val="100"/>
              </a:spcBef>
            </a:pPr>
            <a:r>
              <a:rPr lang="en-US" sz="1403" b="1" spc="-5" dirty="0">
                <a:solidFill>
                  <a:srgbClr val="8E8E8D"/>
                </a:solidFill>
                <a:latin typeface="Unity" panose="020B0505030303020204" pitchFamily="34" charset="0"/>
                <a:cs typeface="TCCC-UnityHeadline"/>
                <a:sym typeface="Arial"/>
              </a:rPr>
              <a:t>Winning in Glass</a:t>
            </a:r>
            <a:endParaRPr lang="en-US" sz="1403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713054" y="2156290"/>
            <a:ext cx="1670126" cy="1587638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018541" defTabSz="914377">
              <a:lnSpc>
                <a:spcPts val="4108"/>
              </a:lnSpc>
              <a:spcBef>
                <a:spcPts val="100"/>
              </a:spcBef>
            </a:pPr>
            <a:r>
              <a:rPr lang="en-US" sz="3200" spc="-51" dirty="0">
                <a:solidFill>
                  <a:srgbClr val="1D1D1B"/>
                </a:solidFill>
                <a:latin typeface="Unity" panose="020B0505030303020204" pitchFamily="34" charset="0"/>
                <a:cs typeface="TCCC-UnityHeadline-Light"/>
                <a:sym typeface="Arial"/>
              </a:rPr>
              <a:t>05</a:t>
            </a:r>
            <a:endParaRPr lang="en-US" sz="3200" dirty="0">
              <a:solidFill>
                <a:srgbClr val="000000"/>
              </a:solidFill>
              <a:latin typeface="Unity" panose="020B0505030303020204" pitchFamily="34" charset="0"/>
              <a:cs typeface="TCCC-UnityHeadline-Light"/>
              <a:sym typeface="Arial"/>
            </a:endParaRPr>
          </a:p>
          <a:p>
            <a:pPr marL="250659" defTabSz="914377">
              <a:lnSpc>
                <a:spcPts val="1943"/>
              </a:lnSpc>
            </a:pP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ENABLERS</a:t>
            </a:r>
            <a:endParaRPr lang="en-US" sz="16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2724" marR="5091" indent="344179" algn="r" defTabSz="914377">
              <a:spcBef>
                <a:spcPts val="496"/>
              </a:spcBef>
            </a:pPr>
            <a:r>
              <a:rPr lang="en-US" sz="1100" spc="-2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L</a:t>
            </a:r>
            <a:r>
              <a:rPr lang="en-US" sz="1100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e</a:t>
            </a:r>
            <a:r>
              <a:rPr lang="en-US" sz="1100" spc="-3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v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e</a:t>
            </a:r>
            <a:r>
              <a:rPr lang="en-US" sz="1100" spc="-3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r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age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tools </a:t>
            </a:r>
            <a:r>
              <a:rPr lang="en-US" sz="1100" spc="-2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for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scalability 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</a:p>
          <a:p>
            <a:pPr marL="12724" marR="5091" indent="344179" algn="r" defTabSz="914377">
              <a:spcBef>
                <a:spcPts val="496"/>
              </a:spcBef>
            </a:pP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Build</a:t>
            </a:r>
            <a:r>
              <a:rPr lang="en-US" sz="1100" spc="-2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credibility</a:t>
            </a:r>
            <a:r>
              <a:rPr lang="en-US" sz="1100" spc="-3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with</a:t>
            </a:r>
            <a:r>
              <a:rPr lang="en-US" sz="1100" dirty="0">
                <a:solidFill>
                  <a:srgbClr val="000000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stakeholders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390532" y="4742863"/>
            <a:ext cx="2666859" cy="1792053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R="5091" algn="r" defTabSz="914377">
              <a:lnSpc>
                <a:spcPts val="4108"/>
              </a:lnSpc>
              <a:spcBef>
                <a:spcPts val="100"/>
              </a:spcBef>
            </a:pPr>
            <a:r>
              <a:rPr lang="en-US" sz="3200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-Light"/>
                <a:sym typeface="Arial"/>
              </a:rPr>
              <a:t>04</a:t>
            </a:r>
            <a:endParaRPr lang="en-US" sz="3200" dirty="0">
              <a:solidFill>
                <a:srgbClr val="000000"/>
              </a:solidFill>
              <a:latin typeface="Unity" panose="020B0505030303020204" pitchFamily="34" charset="0"/>
              <a:cs typeface="TCCC-UnityHeadline-Light"/>
              <a:sym typeface="Arial"/>
            </a:endParaRPr>
          </a:p>
          <a:p>
            <a:pPr marL="63620" marR="8906" indent="326367" defTabSz="914377">
              <a:lnSpc>
                <a:spcPts val="1803"/>
              </a:lnSpc>
              <a:spcBef>
                <a:spcPts val="140"/>
              </a:spcBef>
            </a:pP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VISIBILITY</a:t>
            </a:r>
            <a:r>
              <a:rPr lang="en-US" sz="1600" b="1" spc="-9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IN</a:t>
            </a:r>
            <a:r>
              <a:rPr lang="en-US" sz="1600" b="1" spc="-10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HE </a:t>
            </a:r>
            <a:r>
              <a:rPr lang="en-US" sz="1600" b="1" spc="-52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spc="-13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P</a:t>
            </a:r>
            <a:r>
              <a:rPr lang="en-US" sz="1600" b="1" spc="-169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A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H</a:t>
            </a:r>
            <a:r>
              <a:rPr lang="en-US" sz="1600" b="1" spc="-5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spc="-60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O PU</a:t>
            </a:r>
            <a:r>
              <a:rPr lang="en-US" sz="1600" b="1" spc="-20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R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CH</a:t>
            </a:r>
            <a:r>
              <a:rPr lang="en-US" sz="1600" b="1" spc="-20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A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SE</a:t>
            </a:r>
            <a:endParaRPr lang="en-US" sz="16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2724" marR="8270" indent="117058" algn="r" defTabSz="914377">
              <a:spcBef>
                <a:spcPts val="285"/>
              </a:spcBef>
            </a:pP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Consistent trade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activation</a:t>
            </a:r>
            <a:r>
              <a:rPr lang="en-US" sz="1100" spc="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programs </a:t>
            </a:r>
            <a:r>
              <a:rPr lang="en-US" sz="1100" spc="-356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around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drinking moments rituals </a:t>
            </a:r>
            <a:r>
              <a:rPr lang="en-US" sz="1100" spc="-36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showcasing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consumption experiences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718943" y="2094349"/>
            <a:ext cx="2128016" cy="1837771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defTabSz="914377">
              <a:lnSpc>
                <a:spcPts val="4108"/>
              </a:lnSpc>
              <a:spcBef>
                <a:spcPts val="100"/>
              </a:spcBef>
            </a:pPr>
            <a:r>
              <a:rPr lang="en-US" sz="3200" spc="-65" dirty="0">
                <a:solidFill>
                  <a:srgbClr val="1D1D1B"/>
                </a:solidFill>
                <a:latin typeface="Unity" panose="020B0505030303020204" pitchFamily="34" charset="0"/>
                <a:cs typeface="TCCC-UnityHeadline-Light"/>
                <a:sym typeface="Arial"/>
              </a:rPr>
              <a:t>02</a:t>
            </a:r>
            <a:endParaRPr lang="en-US" sz="3200" dirty="0">
              <a:solidFill>
                <a:srgbClr val="000000"/>
              </a:solidFill>
              <a:latin typeface="Unity" panose="020B0505030303020204" pitchFamily="34" charset="0"/>
              <a:cs typeface="TCCC-UnityHeadline-Light"/>
              <a:sym typeface="Arial"/>
            </a:endParaRPr>
          </a:p>
          <a:p>
            <a:pPr marL="12724" marR="5091" defTabSz="914377">
              <a:lnSpc>
                <a:spcPts val="1803"/>
              </a:lnSpc>
              <a:spcBef>
                <a:spcPts val="140"/>
              </a:spcBef>
            </a:pPr>
            <a:r>
              <a:rPr lang="en-US" sz="1600" b="1" spc="-1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PORTFOLIO &amp; OBPPC</a:t>
            </a:r>
            <a:r>
              <a:rPr lang="en-US" sz="1600" b="1" spc="-1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PRIORITI</a:t>
            </a:r>
            <a:r>
              <a:rPr lang="en-US" sz="1600" b="1" spc="-1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Z</a:t>
            </a:r>
            <a:r>
              <a:rPr lang="en-US" sz="1600" b="1" spc="-169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A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ION</a:t>
            </a:r>
            <a:endParaRPr lang="en-US" sz="16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2724" marR="732892" defTabSz="914377">
              <a:spcBef>
                <a:spcPts val="285"/>
              </a:spcBef>
            </a:pP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Sustained</a:t>
            </a:r>
            <a:r>
              <a:rPr lang="en-US" sz="1100" spc="-3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bet</a:t>
            </a:r>
            <a:r>
              <a:rPr lang="en-US" sz="1100" spc="-3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on </a:t>
            </a:r>
            <a:r>
              <a:rPr lang="en-US" sz="1100" spc="-356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RGB </a:t>
            </a:r>
            <a:r>
              <a:rPr lang="en-US" sz="1100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across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portfolio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8734579" y="4810190"/>
            <a:ext cx="1609531" cy="1559425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defTabSz="914377">
              <a:lnSpc>
                <a:spcPts val="4108"/>
              </a:lnSpc>
              <a:spcBef>
                <a:spcPts val="100"/>
              </a:spcBef>
            </a:pPr>
            <a:r>
              <a:rPr lang="en-US" sz="3200" spc="-100" dirty="0">
                <a:solidFill>
                  <a:srgbClr val="1D1D1B"/>
                </a:solidFill>
                <a:latin typeface="Unity" panose="020B0505030303020204" pitchFamily="34" charset="0"/>
                <a:cs typeface="TCCC-UnityHeadline-Light"/>
                <a:sym typeface="Arial"/>
              </a:rPr>
              <a:t>03</a:t>
            </a:r>
            <a:endParaRPr lang="en-US" sz="3200" dirty="0">
              <a:solidFill>
                <a:srgbClr val="000000"/>
              </a:solidFill>
              <a:latin typeface="Unity" panose="020B0505030303020204" pitchFamily="34" charset="0"/>
              <a:cs typeface="TCCC-UnityHeadline-Light"/>
              <a:sym typeface="Arial"/>
            </a:endParaRPr>
          </a:p>
          <a:p>
            <a:pPr marL="12724" marR="5091" defTabSz="914377">
              <a:lnSpc>
                <a:spcPts val="1803"/>
              </a:lnSpc>
              <a:spcBef>
                <a:spcPts val="140"/>
              </a:spcBef>
            </a:pP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MARK</a:t>
            </a:r>
            <a:r>
              <a:rPr lang="en-US" sz="1600" b="1" spc="1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E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ING  </a:t>
            </a:r>
            <a:r>
              <a:rPr lang="en-US" sz="1600" b="1" spc="-3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PLATFORM</a:t>
            </a:r>
            <a:endParaRPr lang="en-US" sz="16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2724" marR="24175" defTabSz="914377">
              <a:spcBef>
                <a:spcPts val="285"/>
              </a:spcBef>
            </a:pPr>
            <a:r>
              <a:rPr lang="en-US" sz="1100" spc="-3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Consistent consumer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Campaigns to support 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1415" y="358742"/>
            <a:ext cx="8646811" cy="5092017"/>
            <a:chOff x="0" y="358076"/>
            <a:chExt cx="8630796" cy="5082587"/>
          </a:xfrm>
        </p:grpSpPr>
        <p:sp>
          <p:nvSpPr>
            <p:cNvPr id="10" name="object 10"/>
            <p:cNvSpPr/>
            <p:nvPr/>
          </p:nvSpPr>
          <p:spPr>
            <a:xfrm>
              <a:off x="0" y="358076"/>
              <a:ext cx="682625" cy="319405"/>
            </a:xfrm>
            <a:custGeom>
              <a:avLst/>
              <a:gdLst/>
              <a:ahLst/>
              <a:cxnLst/>
              <a:rect l="l" t="t" r="r" b="b"/>
              <a:pathLst>
                <a:path w="682625" h="319405">
                  <a:moveTo>
                    <a:pt x="682155" y="0"/>
                  </a:moveTo>
                  <a:lnTo>
                    <a:pt x="0" y="0"/>
                  </a:lnTo>
                  <a:lnTo>
                    <a:pt x="0" y="318960"/>
                  </a:lnTo>
                  <a:lnTo>
                    <a:pt x="682155" y="318960"/>
                  </a:lnTo>
                  <a:lnTo>
                    <a:pt x="682155" y="0"/>
                  </a:lnTo>
                  <a:close/>
                </a:path>
              </a:pathLst>
            </a:custGeom>
            <a:solidFill>
              <a:srgbClr val="E41E2A"/>
            </a:solidFill>
          </p:spPr>
          <p:txBody>
            <a:bodyPr wrap="square" lIns="0" tIns="0" rIns="0" bIns="0" rtlCol="0"/>
            <a:lstStyle/>
            <a:p>
              <a:pPr defTabSz="914377"/>
              <a:endParaRPr lang="en-US" sz="1803" dirty="0">
                <a:solidFill>
                  <a:srgbClr val="000000"/>
                </a:solidFill>
                <a:latin typeface="Calibri"/>
                <a:cs typeface="Arial"/>
                <a:sym typeface="Arial"/>
              </a:endParaRPr>
            </a:p>
          </p:txBody>
        </p:sp>
        <p:pic>
          <p:nvPicPr>
            <p:cNvPr id="11" name="object 11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447717" y="1783765"/>
              <a:ext cx="3294882" cy="3294887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485076" y="621435"/>
              <a:ext cx="5145720" cy="4819228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5025987" y="2710866"/>
            <a:ext cx="2089208" cy="1475041"/>
          </a:xfrm>
          <a:prstGeom prst="rect">
            <a:avLst/>
          </a:prstGeom>
        </p:spPr>
        <p:txBody>
          <a:bodyPr vert="horz" wrap="square" lIns="0" tIns="12087" rIns="0" bIns="0" rtlCol="0" anchor="ctr">
            <a:spAutoFit/>
          </a:bodyPr>
          <a:lstStyle/>
          <a:p>
            <a:pPr marL="143779" marR="5091" indent="-131691" algn="ctr" defTabSz="914377">
              <a:lnSpc>
                <a:spcPct val="100899"/>
              </a:lnSpc>
              <a:spcBef>
                <a:spcPts val="95"/>
              </a:spcBef>
            </a:pPr>
            <a:r>
              <a:rPr lang="en-US" sz="2800" b="1" spc="1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PILLARS  </a:t>
            </a:r>
            <a:r>
              <a:rPr lang="en-US" sz="2800" b="1" spc="-3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TO</a:t>
            </a:r>
            <a:r>
              <a:rPr lang="en-US" sz="2800" b="1" spc="-7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2800" b="1" spc="20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WIN</a:t>
            </a:r>
            <a:endParaRPr lang="en-US" sz="28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66047" algn="ctr" defTabSz="914377">
              <a:spcBef>
                <a:spcPts val="285"/>
              </a:spcBef>
            </a:pPr>
            <a:r>
              <a:rPr lang="en-US" dirty="0">
                <a:solidFill>
                  <a:srgbClr val="1D1D1B"/>
                </a:solidFill>
                <a:latin typeface="Unity" panose="020B0505030303020204" pitchFamily="34" charset="0"/>
                <a:cs typeface="TCCC-UnityHeadline-Medium"/>
                <a:sym typeface="Arial"/>
              </a:rPr>
              <a:t>in</a:t>
            </a:r>
            <a:r>
              <a:rPr lang="en-US" spc="-71" dirty="0">
                <a:solidFill>
                  <a:srgbClr val="1D1D1B"/>
                </a:solidFill>
                <a:latin typeface="Unity" panose="020B0505030303020204" pitchFamily="34" charset="0"/>
                <a:cs typeface="TCCC-UnityHeadline-Medium"/>
                <a:sym typeface="Arial"/>
              </a:rPr>
              <a:t> </a:t>
            </a:r>
            <a:r>
              <a:rPr lang="en-US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-Medium"/>
                <a:sym typeface="Arial"/>
              </a:rPr>
              <a:t>Returnable Glass</a:t>
            </a:r>
            <a:endParaRPr lang="en-US" dirty="0">
              <a:solidFill>
                <a:srgbClr val="000000"/>
              </a:solidFill>
              <a:latin typeface="Unity" panose="020B0505030303020204" pitchFamily="34" charset="0"/>
              <a:cs typeface="TCCC-UnityHeadline-Medium"/>
              <a:sym typeface="Arial"/>
            </a:endParaRPr>
          </a:p>
        </p:txBody>
      </p:sp>
      <p:sp>
        <p:nvSpPr>
          <p:cNvPr id="18" name="Title 14">
            <a:extLst>
              <a:ext uri="{FF2B5EF4-FFF2-40B4-BE49-F238E27FC236}">
                <a16:creationId xmlns:a16="http://schemas.microsoft.com/office/drawing/2014/main" id="{11B8E518-CFD7-4988-BC90-F13208770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18" y="1486113"/>
            <a:ext cx="2574503" cy="596051"/>
          </a:xfrm>
        </p:spPr>
        <p:txBody>
          <a:bodyPr vert="horz"/>
          <a:lstStyle/>
          <a:p>
            <a:r>
              <a:rPr lang="en-US" sz="1600" dirty="0">
                <a:solidFill>
                  <a:schemeClr val="tx1"/>
                </a:solidFill>
                <a:latin typeface="Unity" panose="020B0505030303020204" pitchFamily="34" charset="0"/>
              </a:rPr>
              <a:t>Key to Success: </a:t>
            </a:r>
            <a:r>
              <a:rPr lang="en-US" sz="1600" b="0" dirty="0">
                <a:solidFill>
                  <a:schemeClr val="tx1"/>
                </a:solidFill>
                <a:latin typeface="Unity" panose="020B0505030303020204" pitchFamily="34" charset="0"/>
              </a:rPr>
              <a:t>System Alignment and a holistic approach with long term consistency and investments commitments </a:t>
            </a:r>
            <a:endParaRPr lang="en-US" sz="1600" b="0" dirty="0">
              <a:latin typeface="Unity" panose="020B0505030303020204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581838" y="668919"/>
            <a:ext cx="2092389" cy="1067067"/>
          </a:xfrm>
          <a:prstGeom prst="rect">
            <a:avLst/>
          </a:prstGeom>
        </p:spPr>
        <p:txBody>
          <a:bodyPr vert="horz" wrap="square" lIns="0" tIns="58527" rIns="0" bIns="0" rtlCol="0">
            <a:spAutoFit/>
          </a:bodyPr>
          <a:lstStyle/>
          <a:p>
            <a:pPr marL="12724" marR="438972" defTabSz="914377">
              <a:lnSpc>
                <a:spcPts val="1803"/>
              </a:lnSpc>
              <a:spcBef>
                <a:spcPts val="460"/>
              </a:spcBef>
            </a:pPr>
            <a:r>
              <a:rPr lang="en-US" sz="1600" b="1" spc="-3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VALUE </a:t>
            </a:r>
            <a:r>
              <a:rPr lang="en-US" sz="1600" b="1" spc="-3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DRIVEN</a:t>
            </a:r>
            <a:r>
              <a:rPr lang="en-US" sz="1600" b="1" spc="-9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 </a:t>
            </a:r>
            <a:r>
              <a:rPr lang="en-US" sz="1600" b="1" spc="-15" dirty="0">
                <a:solidFill>
                  <a:srgbClr val="E41E2A"/>
                </a:solidFill>
                <a:latin typeface="Unity" panose="020B0505030303020204" pitchFamily="34" charset="0"/>
                <a:cs typeface="TCCC-UnityHeadline-Black"/>
                <a:sym typeface="Arial"/>
              </a:rPr>
              <a:t>RTM</a:t>
            </a:r>
            <a:endParaRPr lang="en-US" sz="1600" dirty="0">
              <a:solidFill>
                <a:srgbClr val="000000"/>
              </a:solidFill>
              <a:latin typeface="Unity" panose="020B0505030303020204" pitchFamily="34" charset="0"/>
              <a:cs typeface="TCCC-UnityHeadline-Black"/>
              <a:sym typeface="Arial"/>
            </a:endParaRPr>
          </a:p>
          <a:p>
            <a:pPr marL="129782" marR="5091" indent="-117696" defTabSz="914377">
              <a:spcBef>
                <a:spcPts val="285"/>
              </a:spcBef>
            </a:pP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Hybrid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direct sales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model </a:t>
            </a:r>
            <a:r>
              <a:rPr lang="en-US" sz="1100" spc="-36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focused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on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the</a:t>
            </a:r>
            <a:r>
              <a:rPr lang="en-US" sz="1100" spc="-3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value</a:t>
            </a:r>
            <a:r>
              <a:rPr lang="en-US" sz="1100" dirty="0">
                <a:solidFill>
                  <a:srgbClr val="000000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11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creation</a:t>
            </a:r>
            <a:r>
              <a:rPr lang="en-US" sz="1100" spc="-80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 </a:t>
            </a:r>
            <a:r>
              <a:rPr lang="en-US" sz="1100" spc="-5" dirty="0">
                <a:solidFill>
                  <a:srgbClr val="1D1D1B"/>
                </a:solidFill>
                <a:latin typeface="Unity" panose="020B0505030303020204" pitchFamily="34" charset="0"/>
                <a:cs typeface="TCCC-UnityHeadline"/>
                <a:sym typeface="Arial"/>
              </a:rPr>
              <a:t>tasks.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sp>
        <p:nvSpPr>
          <p:cNvPr id="20" name="object 7">
            <a:extLst>
              <a:ext uri="{FF2B5EF4-FFF2-40B4-BE49-F238E27FC236}">
                <a16:creationId xmlns:a16="http://schemas.microsoft.com/office/drawing/2014/main" id="{D62BBD05-7A5E-44C3-A561-B6F614755E4A}"/>
              </a:ext>
            </a:extLst>
          </p:cNvPr>
          <p:cNvSpPr txBox="1"/>
          <p:nvPr/>
        </p:nvSpPr>
        <p:spPr>
          <a:xfrm>
            <a:off x="6516656" y="184066"/>
            <a:ext cx="598539" cy="481053"/>
          </a:xfrm>
          <a:prstGeom prst="rect">
            <a:avLst/>
          </a:prstGeom>
        </p:spPr>
        <p:txBody>
          <a:bodyPr vert="horz" wrap="square" lIns="0" tIns="12724" rIns="0" bIns="0" rtlCol="0">
            <a:spAutoFit/>
          </a:bodyPr>
          <a:lstStyle/>
          <a:p>
            <a:pPr marL="12724" defTabSz="914377">
              <a:lnSpc>
                <a:spcPts val="4108"/>
              </a:lnSpc>
              <a:spcBef>
                <a:spcPts val="100"/>
              </a:spcBef>
            </a:pPr>
            <a:r>
              <a:rPr lang="en-US" sz="3200" spc="-65">
                <a:solidFill>
                  <a:srgbClr val="1D1D1B"/>
                </a:solidFill>
                <a:latin typeface="Unity" panose="020B0505030303020204" pitchFamily="34" charset="0"/>
                <a:cs typeface="TCCC-UnityHeadline-Light"/>
                <a:sym typeface="Arial"/>
              </a:rPr>
              <a:t>01</a:t>
            </a:r>
            <a:endParaRPr lang="en-US" sz="1100" dirty="0">
              <a:solidFill>
                <a:srgbClr val="000000"/>
              </a:solidFill>
              <a:latin typeface="Unity" panose="020B0505030303020204" pitchFamily="34" charset="0"/>
              <a:cs typeface="TCCC-UnityHeadline"/>
              <a:sym typeface="Arial"/>
            </a:endParaRPr>
          </a:p>
        </p:txBody>
      </p:sp>
      <p:pic>
        <p:nvPicPr>
          <p:cNvPr id="24" name="Picture 23" descr="Shape, arrow&#10;&#10;Description automatically generated">
            <a:extLst>
              <a:ext uri="{FF2B5EF4-FFF2-40B4-BE49-F238E27FC236}">
                <a16:creationId xmlns:a16="http://schemas.microsoft.com/office/drawing/2014/main" id="{FAB24EF1-9EB7-4369-BC6A-90741F03BB2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54794" y="5584182"/>
            <a:ext cx="1419248" cy="14156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C7FCC07-185D-447F-BC4E-64D1FFAB9F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C7FCC07-185D-447F-BC4E-64D1FFAB9F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A picture containing person, wall, indoor&#10;&#10;Description automatically generated">
            <a:extLst>
              <a:ext uri="{FF2B5EF4-FFF2-40B4-BE49-F238E27FC236}">
                <a16:creationId xmlns:a16="http://schemas.microsoft.com/office/drawing/2014/main" id="{059C8D50-EEDB-18A0-6DD7-36E4E52699D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312"/>
          <a:stretch/>
        </p:blipFill>
        <p:spPr>
          <a:xfrm>
            <a:off x="-1" y="0"/>
            <a:ext cx="9329057" cy="6858000"/>
          </a:xfrm>
          <a:prstGeom prst="rect">
            <a:avLst/>
          </a:prstGeom>
        </p:spPr>
      </p:pic>
      <p:pic>
        <p:nvPicPr>
          <p:cNvPr id="7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C3372E49-8E76-0D87-8C9E-1975CD3E48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l="40804"/>
          <a:stretch/>
        </p:blipFill>
        <p:spPr>
          <a:xfrm>
            <a:off x="4974770" y="0"/>
            <a:ext cx="7217229" cy="6858000"/>
          </a:xfrm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 descr="Shape, arrow&#10;&#10;Description automatically generated">
            <a:extLst>
              <a:ext uri="{FF2B5EF4-FFF2-40B4-BE49-F238E27FC236}">
                <a16:creationId xmlns:a16="http://schemas.microsoft.com/office/drawing/2014/main" id="{811898F4-FF1C-9D4C-470D-3B12D341284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B651A761-91C2-AA1F-3044-4AD27CE287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34600" y="415098"/>
            <a:ext cx="1574800" cy="1574800"/>
          </a:xfrm>
          <a:prstGeom prst="rect">
            <a:avLst/>
          </a:prstGeom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B50E6E9C-7634-E123-299D-32235FB6CC3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02875" y="583373"/>
            <a:ext cx="1238250" cy="123825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B45DBF3-E46F-8081-7FF1-41D4F7472A97}"/>
              </a:ext>
            </a:extLst>
          </p:cNvPr>
          <p:cNvSpPr txBox="1"/>
          <p:nvPr/>
        </p:nvSpPr>
        <p:spPr>
          <a:xfrm>
            <a:off x="6960628" y="3044279"/>
            <a:ext cx="458049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Discussion</a:t>
            </a:r>
          </a:p>
        </p:txBody>
      </p:sp>
    </p:spTree>
    <p:extLst>
      <p:ext uri="{BB962C8B-B14F-4D97-AF65-F5344CB8AC3E}">
        <p14:creationId xmlns:p14="http://schemas.microsoft.com/office/powerpoint/2010/main" val="574768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05E1ED6-0AFA-491E-B86F-44A07DB7AE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945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05E1ED6-0AFA-491E-B86F-44A07DB7A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6D6B52E-D6AC-4675-9EEB-36B428E507F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332"/>
          <a:stretch/>
        </p:blipFill>
        <p:spPr>
          <a:xfrm>
            <a:off x="5023413" y="0"/>
            <a:ext cx="7168587" cy="6858000"/>
          </a:xfrm>
          <a:prstGeom prst="rect">
            <a:avLst/>
          </a:prstGeom>
        </p:spPr>
      </p:pic>
      <p:pic>
        <p:nvPicPr>
          <p:cNvPr id="7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401F6087-F7ED-2AC0-4643-0203DCB0CCC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/>
          <a:srcRect r="35179"/>
          <a:stretch/>
        </p:blipFill>
        <p:spPr>
          <a:xfrm>
            <a:off x="0" y="0"/>
            <a:ext cx="7903029" cy="6858000"/>
          </a:xfr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3D184D-7F94-5198-E054-F14CB1AF2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ified - Confidential</a:t>
            </a:r>
          </a:p>
        </p:txBody>
      </p:sp>
      <p:pic>
        <p:nvPicPr>
          <p:cNvPr id="8" name="Picture 7" descr="A picture containing arrow&#10;&#10;Description automatically generated">
            <a:extLst>
              <a:ext uri="{FF2B5EF4-FFF2-40B4-BE49-F238E27FC236}">
                <a16:creationId xmlns:a16="http://schemas.microsoft.com/office/drawing/2014/main" id="{A60A19B8-B430-FF46-BD5D-08A6CDBAB5D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619" y="260698"/>
            <a:ext cx="2228850" cy="22288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9CEEC27-1CCD-BCFA-7D73-E615EDE0FF49}"/>
              </a:ext>
            </a:extLst>
          </p:cNvPr>
          <p:cNvSpPr/>
          <p:nvPr/>
        </p:nvSpPr>
        <p:spPr>
          <a:xfrm>
            <a:off x="1538744" y="3767227"/>
            <a:ext cx="401115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20+ years within the System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Unity" panose="020B0505030303020204" pitchFamily="34" charset="0"/>
              </a:rPr>
              <a:t>Global Refillable Leader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Unity" panose="020B0505030303020204" pitchFamily="34" charset="0"/>
              </a:rPr>
              <a:t>RTM &amp; Commercial strategy | Stills business | RGM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Geography: LATAM (Mexico, Costa Rica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68058B1-9A02-C8D0-335A-B531B90DFF0F}"/>
              </a:ext>
            </a:extLst>
          </p:cNvPr>
          <p:cNvSpPr txBox="1"/>
          <p:nvPr/>
        </p:nvSpPr>
        <p:spPr>
          <a:xfrm>
            <a:off x="1538744" y="2290961"/>
            <a:ext cx="37190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John Martinez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Director, Value to Market &amp; Integrated Commercial Strategy</a:t>
            </a:r>
          </a:p>
        </p:txBody>
      </p:sp>
    </p:spTree>
    <p:extLst>
      <p:ext uri="{BB962C8B-B14F-4D97-AF65-F5344CB8AC3E}">
        <p14:creationId xmlns:p14="http://schemas.microsoft.com/office/powerpoint/2010/main" val="111558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A91405-86FA-4715-96CE-E1F8CB4468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66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A91405-86FA-4715-96CE-E1F8CB4468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44948" y="88859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7769" y="-753120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latin typeface="Unity" panose="020B0505030303020204" pitchFamily="34" charset="0"/>
                <a:ea typeface="Lexend"/>
                <a:cs typeface="Lexend"/>
                <a:sym typeface="Lexend"/>
              </a:rPr>
              <a:t>GLASS IS PROVEN TO BE A SUCCESSFUL RECRUITMENT ENGINE IN MANY MARKETS</a:t>
            </a:r>
            <a:endParaRPr lang="en-US" sz="2800" b="1" kern="0" dirty="0">
              <a:latin typeface="Unity" panose="020B0505030303020204" pitchFamily="34" charset="0"/>
              <a:ea typeface="Lexend"/>
              <a:cs typeface="Lexend"/>
              <a:sym typeface="Lexend"/>
            </a:endParaRPr>
          </a:p>
        </p:txBody>
      </p:sp>
      <p:sp>
        <p:nvSpPr>
          <p:cNvPr id="44" name="CuadroTexto 13">
            <a:extLst>
              <a:ext uri="{FF2B5EF4-FFF2-40B4-BE49-F238E27FC236}">
                <a16:creationId xmlns:a16="http://schemas.microsoft.com/office/drawing/2014/main" id="{8D76ECB9-54AD-4760-B564-2D1319FF94B6}"/>
              </a:ext>
            </a:extLst>
          </p:cNvPr>
          <p:cNvSpPr txBox="1"/>
          <p:nvPr/>
        </p:nvSpPr>
        <p:spPr>
          <a:xfrm>
            <a:off x="13530492" y="573182"/>
            <a:ext cx="10124551" cy="4431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solidFill>
                  <a:srgbClr val="69C97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MPETITIVE ADVANTAGE</a:t>
            </a:r>
            <a:endParaRPr lang="en-US" sz="1600" dirty="0">
              <a:solidFill>
                <a:srgbClr val="69C97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tect our Base – high barrier to entry</a:t>
            </a:r>
          </a:p>
          <a:p>
            <a:pPr defTabSz="914377">
              <a:defRPr/>
            </a:pPr>
            <a:b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</a:br>
            <a:endParaRPr lang="en-US" sz="1600" dirty="0">
              <a:solidFill>
                <a:srgbClr val="69C97F">
                  <a:lumMod val="60000"/>
                  <a:lumOff val="40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b="1" dirty="0">
                <a:solidFill>
                  <a:srgbClr val="69C97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ONSUMER PERCEPTION</a:t>
            </a:r>
            <a:endParaRPr lang="en-US" sz="1600" dirty="0">
              <a:solidFill>
                <a:srgbClr val="69C97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Good for the pocket, Good for the Planet, Good for Me</a:t>
            </a:r>
          </a:p>
          <a:p>
            <a:pPr defTabSz="914377">
              <a:defRPr/>
            </a:pPr>
            <a:endParaRPr lang="en-US" sz="16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377">
              <a:defRPr/>
            </a:pP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b="1" dirty="0">
                <a:solidFill>
                  <a:srgbClr val="69C97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TEGORY EXPANSION</a:t>
            </a:r>
            <a:endParaRPr lang="en-US" sz="1600" dirty="0">
              <a:solidFill>
                <a:srgbClr val="69C97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cruitment through the experience (Contour), sustainability and through better price points for Affordability.</a:t>
            </a:r>
          </a:p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Build Habit and improves Frequency of Consumption, </a:t>
            </a:r>
            <a:r>
              <a:rPr lang="en-US" sz="160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s packages serve as a constant purchase reminder</a:t>
            </a:r>
          </a:p>
          <a:p>
            <a:pPr defTabSz="914377">
              <a:defRPr/>
            </a:pPr>
            <a:endParaRPr lang="en-US" sz="16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377">
              <a:defRPr/>
            </a:pP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b="1" dirty="0">
                <a:solidFill>
                  <a:srgbClr val="69C97F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SUSTAINABILITY</a:t>
            </a:r>
            <a:endParaRPr lang="en-US" sz="1600" dirty="0">
              <a:solidFill>
                <a:srgbClr val="69C97F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Reutilizing minimizes carbon footprint and plastic waste – World Without Waste</a:t>
            </a:r>
          </a:p>
          <a:p>
            <a:pPr defTabSz="914377">
              <a:defRPr/>
            </a:pP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defTabSz="914377">
              <a:defRPr/>
            </a:pP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Hexagon 25">
            <a:extLst>
              <a:ext uri="{FF2B5EF4-FFF2-40B4-BE49-F238E27FC236}">
                <a16:creationId xmlns:a16="http://schemas.microsoft.com/office/drawing/2014/main" id="{F7B9FE63-248D-47D7-9ADB-036EEFD437C2}"/>
              </a:ext>
            </a:extLst>
          </p:cNvPr>
          <p:cNvSpPr/>
          <p:nvPr/>
        </p:nvSpPr>
        <p:spPr>
          <a:xfrm rot="5400000">
            <a:off x="417509" y="3792875"/>
            <a:ext cx="2431774" cy="2424581"/>
          </a:xfrm>
          <a:prstGeom prst="hexagon">
            <a:avLst/>
          </a:prstGeom>
          <a:gradFill flip="none" rotWithShape="1">
            <a:gsLst>
              <a:gs pos="0">
                <a:srgbClr val="FF0000"/>
              </a:gs>
              <a:gs pos="57000">
                <a:schemeClr val="accent4"/>
              </a:gs>
              <a:gs pos="100000">
                <a:srgbClr val="00B0F0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Hexagon 26">
            <a:extLst>
              <a:ext uri="{FF2B5EF4-FFF2-40B4-BE49-F238E27FC236}">
                <a16:creationId xmlns:a16="http://schemas.microsoft.com/office/drawing/2014/main" id="{202F8730-B5B5-400B-A54D-AC1C58E0A548}"/>
              </a:ext>
            </a:extLst>
          </p:cNvPr>
          <p:cNvSpPr/>
          <p:nvPr/>
        </p:nvSpPr>
        <p:spPr>
          <a:xfrm rot="5400000">
            <a:off x="2928993" y="3792875"/>
            <a:ext cx="2431774" cy="2424581"/>
          </a:xfrm>
          <a:prstGeom prst="hexagon">
            <a:avLst/>
          </a:prstGeom>
          <a:gradFill flip="none" rotWithShape="1">
            <a:gsLst>
              <a:gs pos="0">
                <a:srgbClr val="FF0000"/>
              </a:gs>
              <a:gs pos="57000">
                <a:schemeClr val="accent4"/>
              </a:gs>
              <a:gs pos="100000">
                <a:srgbClr val="00B0F0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Hexagon 28">
            <a:extLst>
              <a:ext uri="{FF2B5EF4-FFF2-40B4-BE49-F238E27FC236}">
                <a16:creationId xmlns:a16="http://schemas.microsoft.com/office/drawing/2014/main" id="{B0D82440-C1D7-41A7-AEDA-79CBF29E3C6E}"/>
              </a:ext>
            </a:extLst>
          </p:cNvPr>
          <p:cNvSpPr/>
          <p:nvPr/>
        </p:nvSpPr>
        <p:spPr>
          <a:xfrm rot="5400000">
            <a:off x="7951961" y="3792875"/>
            <a:ext cx="2431774" cy="2424581"/>
          </a:xfrm>
          <a:prstGeom prst="hexagon">
            <a:avLst/>
          </a:prstGeom>
          <a:gradFill flip="none" rotWithShape="1">
            <a:gsLst>
              <a:gs pos="0">
                <a:srgbClr val="FF0000"/>
              </a:gs>
              <a:gs pos="57000">
                <a:schemeClr val="accent4"/>
              </a:gs>
              <a:gs pos="100000">
                <a:srgbClr val="00B0F0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1D5D6E1-0B0C-4EC2-8EBE-1D5328292E95}"/>
              </a:ext>
            </a:extLst>
          </p:cNvPr>
          <p:cNvSpPr txBox="1"/>
          <p:nvPr/>
        </p:nvSpPr>
        <p:spPr>
          <a:xfrm>
            <a:off x="653834" y="4133699"/>
            <a:ext cx="20295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rPr>
              <a:t>PERFECT SERV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409E253-B5C4-48DB-9A1B-8A5040542772}"/>
              </a:ext>
            </a:extLst>
          </p:cNvPr>
          <p:cNvSpPr txBox="1"/>
          <p:nvPr/>
        </p:nvSpPr>
        <p:spPr>
          <a:xfrm>
            <a:off x="2942615" y="4078075"/>
            <a:ext cx="2424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Unity" panose="020B0505030303020204" pitchFamily="34" charset="0"/>
              </a:rPr>
              <a:t>German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nity" panose="020B0505030303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10ED79F-B3FA-4FEB-8F2F-206F88ED2086}"/>
              </a:ext>
            </a:extLst>
          </p:cNvPr>
          <p:cNvSpPr txBox="1"/>
          <p:nvPr/>
        </p:nvSpPr>
        <p:spPr>
          <a:xfrm>
            <a:off x="7955557" y="4060253"/>
            <a:ext cx="24245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chemeClr val="bg1"/>
                </a:solidFill>
                <a:latin typeface="Unity" panose="020B0505030303020204" pitchFamily="34" charset="0"/>
              </a:rPr>
              <a:t>Spain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Unity" panose="020B0505030303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6266CB8-A0BA-439E-9DEF-8987091B6671}"/>
              </a:ext>
            </a:extLst>
          </p:cNvPr>
          <p:cNvGrpSpPr/>
          <p:nvPr/>
        </p:nvGrpSpPr>
        <p:grpSpPr>
          <a:xfrm>
            <a:off x="6854121" y="1830967"/>
            <a:ext cx="2424581" cy="2431774"/>
            <a:chOff x="1831913" y="1574609"/>
            <a:chExt cx="2424581" cy="2431774"/>
          </a:xfrm>
        </p:grpSpPr>
        <p:sp>
          <p:nvSpPr>
            <p:cNvPr id="20" name="Hexagon 19">
              <a:extLst>
                <a:ext uri="{FF2B5EF4-FFF2-40B4-BE49-F238E27FC236}">
                  <a16:creationId xmlns:a16="http://schemas.microsoft.com/office/drawing/2014/main" id="{B6FEF32E-D27D-5988-7364-356D39BB5B30}"/>
                </a:ext>
              </a:extLst>
            </p:cNvPr>
            <p:cNvSpPr/>
            <p:nvPr/>
          </p:nvSpPr>
          <p:spPr>
            <a:xfrm rot="5400000">
              <a:off x="1828317" y="1578205"/>
              <a:ext cx="2431774" cy="2424581"/>
            </a:xfrm>
            <a:prstGeom prst="hexagon">
              <a:avLst/>
            </a:prstGeom>
            <a:gradFill flip="none" rotWithShape="1">
              <a:gsLst>
                <a:gs pos="0">
                  <a:srgbClr val="FF0000"/>
                </a:gs>
                <a:gs pos="57000">
                  <a:schemeClr val="accent4"/>
                </a:gs>
                <a:gs pos="100000">
                  <a:srgbClr val="00B0F0"/>
                </a:gs>
              </a:gsLst>
              <a:lin ang="12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BAE24E7-8B5C-5076-C212-4EEABFF907EA}"/>
                </a:ext>
              </a:extLst>
            </p:cNvPr>
            <p:cNvSpPr txBox="1"/>
            <p:nvPr/>
          </p:nvSpPr>
          <p:spPr>
            <a:xfrm>
              <a:off x="1932765" y="1883572"/>
              <a:ext cx="220871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bg1"/>
                  </a:solidFill>
                  <a:latin typeface="Unity" panose="020B0505030303020204" pitchFamily="34" charset="0"/>
                </a:rPr>
                <a:t>Philippines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9B96761-33F3-4BC5-A013-641F3472D70F}"/>
                </a:ext>
              </a:extLst>
            </p:cNvPr>
            <p:cNvSpPr txBox="1"/>
            <p:nvPr/>
          </p:nvSpPr>
          <p:spPr>
            <a:xfrm>
              <a:off x="2072466" y="3011647"/>
              <a:ext cx="202959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Unity" panose="020B0505030303020204" pitchFamily="34" charset="0"/>
                </a:rPr>
                <a:t>2X Tx </a:t>
              </a:r>
              <a:r>
                <a:rPr lang="en-US" sz="1200" dirty="0">
                  <a:latin typeface="Unity" panose="020B0505030303020204" pitchFamily="34" charset="0"/>
                </a:rPr>
                <a:t>during COVID; Implement Universal Bottle in 2024 onwards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0316B96-9D1B-440B-8402-360697A24486}"/>
              </a:ext>
            </a:extLst>
          </p:cNvPr>
          <p:cNvGrpSpPr/>
          <p:nvPr/>
        </p:nvGrpSpPr>
        <p:grpSpPr>
          <a:xfrm>
            <a:off x="9475987" y="1884839"/>
            <a:ext cx="2424581" cy="2431774"/>
            <a:chOff x="4343397" y="1574609"/>
            <a:chExt cx="2424581" cy="2431774"/>
          </a:xfrm>
        </p:grpSpPr>
        <p:sp>
          <p:nvSpPr>
            <p:cNvPr id="22" name="Hexagon 21">
              <a:extLst>
                <a:ext uri="{FF2B5EF4-FFF2-40B4-BE49-F238E27FC236}">
                  <a16:creationId xmlns:a16="http://schemas.microsoft.com/office/drawing/2014/main" id="{939E8862-C16D-EF63-E538-9E21B7F72C92}"/>
                </a:ext>
              </a:extLst>
            </p:cNvPr>
            <p:cNvSpPr/>
            <p:nvPr/>
          </p:nvSpPr>
          <p:spPr>
            <a:xfrm rot="5400000">
              <a:off x="4339801" y="1578205"/>
              <a:ext cx="2431774" cy="2424581"/>
            </a:xfrm>
            <a:prstGeom prst="hexagon">
              <a:avLst/>
            </a:prstGeom>
            <a:gradFill flip="none" rotWithShape="1">
              <a:gsLst>
                <a:gs pos="0">
                  <a:srgbClr val="FF0000"/>
                </a:gs>
                <a:gs pos="57000">
                  <a:schemeClr val="accent4"/>
                </a:gs>
                <a:gs pos="100000">
                  <a:srgbClr val="00B0F0"/>
                </a:gs>
              </a:gsLst>
              <a:lin ang="12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386032D-1B08-4875-9694-021E4BB37196}"/>
                </a:ext>
              </a:extLst>
            </p:cNvPr>
            <p:cNvSpPr txBox="1"/>
            <p:nvPr/>
          </p:nvSpPr>
          <p:spPr>
            <a:xfrm>
              <a:off x="4658326" y="1883572"/>
              <a:ext cx="17796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bg1"/>
                  </a:solidFill>
                  <a:latin typeface="Unity" panose="020B0505030303020204" pitchFamily="34" charset="0"/>
                </a:rPr>
                <a:t>South Africa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7075523-89A9-4C3C-9B1C-D58E30DBEC7A}"/>
                </a:ext>
              </a:extLst>
            </p:cNvPr>
            <p:cNvSpPr txBox="1"/>
            <p:nvPr/>
          </p:nvSpPr>
          <p:spPr>
            <a:xfrm>
              <a:off x="4540891" y="3068722"/>
              <a:ext cx="20295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Unity" panose="020B0505030303020204" pitchFamily="34" charset="0"/>
                </a:rPr>
                <a:t>Recover +3pts </a:t>
              </a:r>
              <a:r>
                <a:rPr lang="en-US" sz="1200" dirty="0">
                  <a:latin typeface="Unity" panose="020B0505030303020204" pitchFamily="34" charset="0"/>
                </a:rPr>
                <a:t>on value share with +21% vol growth</a:t>
              </a:r>
            </a:p>
          </p:txBody>
        </p:sp>
      </p:grpSp>
      <p:sp>
        <p:nvSpPr>
          <p:cNvPr id="24" name="Hexagon 23">
            <a:extLst>
              <a:ext uri="{FF2B5EF4-FFF2-40B4-BE49-F238E27FC236}">
                <a16:creationId xmlns:a16="http://schemas.microsoft.com/office/drawing/2014/main" id="{8B1A003B-99C7-6B02-B31A-7EE3930DDB86}"/>
              </a:ext>
            </a:extLst>
          </p:cNvPr>
          <p:cNvSpPr/>
          <p:nvPr/>
        </p:nvSpPr>
        <p:spPr>
          <a:xfrm rot="5400000">
            <a:off x="1756001" y="1850577"/>
            <a:ext cx="2431774" cy="2424581"/>
          </a:xfrm>
          <a:prstGeom prst="hexagon">
            <a:avLst/>
          </a:prstGeom>
          <a:gradFill flip="none" rotWithShape="1">
            <a:gsLst>
              <a:gs pos="0">
                <a:srgbClr val="FF0000"/>
              </a:gs>
              <a:gs pos="57000">
                <a:schemeClr val="accent4"/>
              </a:gs>
              <a:gs pos="100000">
                <a:srgbClr val="00B0F0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FE2D7A1-20C3-410C-997E-C64EF2A5ED11}"/>
              </a:ext>
            </a:extLst>
          </p:cNvPr>
          <p:cNvSpPr txBox="1"/>
          <p:nvPr/>
        </p:nvSpPr>
        <p:spPr>
          <a:xfrm>
            <a:off x="1759597" y="2244844"/>
            <a:ext cx="24245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rPr>
              <a:t>AFFORDABILITY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9AAF0FE-9628-496C-9D67-B934B47C62B3}"/>
              </a:ext>
            </a:extLst>
          </p:cNvPr>
          <p:cNvSpPr txBox="1"/>
          <p:nvPr/>
        </p:nvSpPr>
        <p:spPr>
          <a:xfrm>
            <a:off x="1957091" y="3119355"/>
            <a:ext cx="2029594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latin typeface="Unity" panose="020B0505030303020204" pitchFamily="34" charset="0"/>
              </a:rPr>
              <a:t>Markets with Affordable Solutions have disproportionally </a:t>
            </a:r>
            <a:r>
              <a:rPr lang="en-US" sz="1200" b="1" dirty="0">
                <a:latin typeface="Unity" panose="020B0505030303020204" pitchFamily="34" charset="0"/>
              </a:rPr>
              <a:t>higher rank on Per capita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91F650E-53FB-48D3-81E2-4B05CBCA8A35}"/>
              </a:ext>
            </a:extLst>
          </p:cNvPr>
          <p:cNvSpPr txBox="1"/>
          <p:nvPr/>
        </p:nvSpPr>
        <p:spPr>
          <a:xfrm>
            <a:off x="575810" y="5173647"/>
            <a:ext cx="2029594" cy="76944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1100" b="0" i="0" dirty="0">
                <a:solidFill>
                  <a:srgbClr val="242424"/>
                </a:solidFill>
                <a:effectLst/>
                <a:latin typeface="Unity" panose="020B0505030303020204" pitchFamily="34" charset="0"/>
              </a:rPr>
              <a:t>Every market with Glass Mix above 10% has a </a:t>
            </a:r>
            <a:r>
              <a:rPr lang="en-US" sz="1100" b="1" i="0" dirty="0">
                <a:solidFill>
                  <a:srgbClr val="242424"/>
                </a:solidFill>
                <a:effectLst/>
                <a:latin typeface="Unity" panose="020B0505030303020204" pitchFamily="34" charset="0"/>
              </a:rPr>
              <a:t>Coke Brand Love Score above 3.0</a:t>
            </a:r>
            <a:endParaRPr lang="en-US" sz="1100" b="1" dirty="0">
              <a:latin typeface="Unity" panose="020B0505030303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91908F1-34EB-42BF-BFF0-D5818595500A}"/>
              </a:ext>
            </a:extLst>
          </p:cNvPr>
          <p:cNvSpPr txBox="1"/>
          <p:nvPr/>
        </p:nvSpPr>
        <p:spPr>
          <a:xfrm>
            <a:off x="3223410" y="5269402"/>
            <a:ext cx="1921538" cy="761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Unity" panose="020B0505030303020204" pitchFamily="34" charset="0"/>
              </a:rPr>
              <a:t>RGB Margin Growth </a:t>
            </a:r>
            <a:r>
              <a:rPr lang="en-US" sz="1050" dirty="0">
                <a:latin typeface="Unity" panose="020B0505030303020204" pitchFamily="34" charset="0"/>
              </a:rPr>
              <a:t>with Premiumization at Home while addressing Sustainability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3A7F26C-649D-479D-A708-5742D23C86C4}"/>
              </a:ext>
            </a:extLst>
          </p:cNvPr>
          <p:cNvSpPr txBox="1"/>
          <p:nvPr/>
        </p:nvSpPr>
        <p:spPr>
          <a:xfrm>
            <a:off x="8108038" y="5061547"/>
            <a:ext cx="20295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Unity" panose="020B0505030303020204" pitchFamily="34" charset="0"/>
              </a:rPr>
              <a:t>Reversed the 7-year trends of RGB </a:t>
            </a:r>
            <a:r>
              <a:rPr lang="en-US" sz="1200" dirty="0">
                <a:latin typeface="Unity" panose="020B0505030303020204" pitchFamily="34" charset="0"/>
              </a:rPr>
              <a:t>and grew net price by 7.1%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84CB1EF-0FF8-4AE1-BBBE-CF5F722918DE}"/>
              </a:ext>
            </a:extLst>
          </p:cNvPr>
          <p:cNvGrpSpPr/>
          <p:nvPr/>
        </p:nvGrpSpPr>
        <p:grpSpPr>
          <a:xfrm>
            <a:off x="5454099" y="3793959"/>
            <a:ext cx="2424582" cy="2431774"/>
            <a:chOff x="6854881" y="1574609"/>
            <a:chExt cx="2424582" cy="2431774"/>
          </a:xfrm>
        </p:grpSpPr>
        <p:sp>
          <p:nvSpPr>
            <p:cNvPr id="23" name="Hexagon 22">
              <a:extLst>
                <a:ext uri="{FF2B5EF4-FFF2-40B4-BE49-F238E27FC236}">
                  <a16:creationId xmlns:a16="http://schemas.microsoft.com/office/drawing/2014/main" id="{B7C9D49D-9B94-1F6C-2B5C-2571D9F6EBA4}"/>
                </a:ext>
              </a:extLst>
            </p:cNvPr>
            <p:cNvSpPr/>
            <p:nvPr/>
          </p:nvSpPr>
          <p:spPr>
            <a:xfrm rot="5400000">
              <a:off x="6851285" y="1578205"/>
              <a:ext cx="2431774" cy="2424581"/>
            </a:xfrm>
            <a:prstGeom prst="hexagon">
              <a:avLst/>
            </a:prstGeom>
            <a:gradFill flip="none" rotWithShape="1">
              <a:gsLst>
                <a:gs pos="0">
                  <a:srgbClr val="FF0000"/>
                </a:gs>
                <a:gs pos="57000">
                  <a:schemeClr val="accent4"/>
                </a:gs>
                <a:gs pos="100000">
                  <a:srgbClr val="00B0F0"/>
                </a:gs>
              </a:gsLst>
              <a:lin ang="12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7425C6F0-6979-4FA6-BC98-6784611B9F36}"/>
                </a:ext>
              </a:extLst>
            </p:cNvPr>
            <p:cNvSpPr txBox="1"/>
            <p:nvPr/>
          </p:nvSpPr>
          <p:spPr>
            <a:xfrm>
              <a:off x="6854881" y="1883572"/>
              <a:ext cx="24245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bg1"/>
                  </a:solidFill>
                  <a:latin typeface="Unity" panose="020B0505030303020204" pitchFamily="34" charset="0"/>
                </a:rPr>
                <a:t>Hong Kong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47B0CF8-90AC-443F-AB0C-02FD91496C54}"/>
                </a:ext>
              </a:extLst>
            </p:cNvPr>
            <p:cNvSpPr txBox="1"/>
            <p:nvPr/>
          </p:nvSpPr>
          <p:spPr>
            <a:xfrm>
              <a:off x="7060944" y="3080062"/>
              <a:ext cx="20295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latin typeface="Unity" panose="020B0505030303020204" pitchFamily="34" charset="0"/>
                </a:rPr>
                <a:t>3.5x</a:t>
              </a:r>
              <a:r>
                <a:rPr lang="en-US" sz="1200" dirty="0">
                  <a:latin typeface="Unity" panose="020B0505030303020204" pitchFamily="34" charset="0"/>
                </a:rPr>
                <a:t> Volume Growth to capture Meals headroom </a:t>
              </a: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201CEBA8-4693-4211-BD21-1311A77377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clrChange>
                <a:clrFrom>
                  <a:srgbClr val="FAF9F8"/>
                </a:clrFrom>
                <a:clrTo>
                  <a:srgbClr val="FAF9F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13822" y="2263341"/>
              <a:ext cx="790086" cy="772205"/>
            </a:xfrm>
            <a:prstGeom prst="rect">
              <a:avLst/>
            </a:prstGeom>
          </p:spPr>
        </p:pic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F74440BD-A0D3-4520-BBF2-4A72488C67E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7143"/>
          <a:stretch/>
        </p:blipFill>
        <p:spPr>
          <a:xfrm>
            <a:off x="1295138" y="4457699"/>
            <a:ext cx="547025" cy="723085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A512657F-DB13-413C-8402-CC50CBFD22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058" y="4475156"/>
            <a:ext cx="1538959" cy="539472"/>
          </a:xfrm>
          <a:prstGeom prst="rect">
            <a:avLst/>
          </a:prstGeom>
        </p:spPr>
      </p:pic>
      <p:grpSp>
        <p:nvGrpSpPr>
          <p:cNvPr id="58" name="Group 57">
            <a:extLst>
              <a:ext uri="{FF2B5EF4-FFF2-40B4-BE49-F238E27FC236}">
                <a16:creationId xmlns:a16="http://schemas.microsoft.com/office/drawing/2014/main" id="{4A48AB18-D4BB-4F9E-AED7-CF98C2DD4ADB}"/>
              </a:ext>
            </a:extLst>
          </p:cNvPr>
          <p:cNvGrpSpPr/>
          <p:nvPr/>
        </p:nvGrpSpPr>
        <p:grpSpPr>
          <a:xfrm>
            <a:off x="4275144" y="1824057"/>
            <a:ext cx="2456296" cy="2431774"/>
            <a:chOff x="5412358" y="3789279"/>
            <a:chExt cx="2456296" cy="2431774"/>
          </a:xfrm>
        </p:grpSpPr>
        <p:sp>
          <p:nvSpPr>
            <p:cNvPr id="28" name="Hexagon 27">
              <a:extLst>
                <a:ext uri="{FF2B5EF4-FFF2-40B4-BE49-F238E27FC236}">
                  <a16:creationId xmlns:a16="http://schemas.microsoft.com/office/drawing/2014/main" id="{7A456F99-68E7-4BBC-8492-DCD154BF408A}"/>
                </a:ext>
              </a:extLst>
            </p:cNvPr>
            <p:cNvSpPr/>
            <p:nvPr/>
          </p:nvSpPr>
          <p:spPr>
            <a:xfrm rot="5400000">
              <a:off x="5440477" y="3792875"/>
              <a:ext cx="2431774" cy="2424581"/>
            </a:xfrm>
            <a:prstGeom prst="hexagon">
              <a:avLst/>
            </a:prstGeom>
            <a:gradFill flip="none" rotWithShape="1">
              <a:gsLst>
                <a:gs pos="0">
                  <a:srgbClr val="FF0000"/>
                </a:gs>
                <a:gs pos="57000">
                  <a:schemeClr val="accent4"/>
                </a:gs>
                <a:gs pos="100000">
                  <a:srgbClr val="00B0F0"/>
                </a:gs>
              </a:gsLst>
              <a:lin ang="12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7A42AC5F-7ED6-44DC-8451-954E9D73EFCC}"/>
                </a:ext>
              </a:extLst>
            </p:cNvPr>
            <p:cNvSpPr txBox="1"/>
            <p:nvPr/>
          </p:nvSpPr>
          <p:spPr>
            <a:xfrm>
              <a:off x="5412358" y="4060253"/>
              <a:ext cx="24245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solidFill>
                    <a:schemeClr val="bg1"/>
                  </a:solidFill>
                  <a:latin typeface="Unity" panose="020B0505030303020204" pitchFamily="34" charset="0"/>
                </a:rPr>
                <a:t>Chile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Unity" panose="020B0505030303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4D1F18C-AB08-46CB-BF30-C659222C8E66}"/>
                </a:ext>
              </a:extLst>
            </p:cNvPr>
            <p:cNvSpPr txBox="1"/>
            <p:nvPr/>
          </p:nvSpPr>
          <p:spPr>
            <a:xfrm>
              <a:off x="5683456" y="5243320"/>
              <a:ext cx="202959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>
                  <a:latin typeface="Unity" panose="020B0505030303020204" pitchFamily="34" charset="0"/>
                </a:rPr>
                <a:t>2X Buying Frequency Households with </a:t>
              </a:r>
              <a:r>
                <a:rPr lang="en-US" sz="1050" b="1" dirty="0" err="1">
                  <a:latin typeface="Unity" panose="020B0505030303020204" pitchFamily="34" charset="0"/>
                </a:rPr>
                <a:t>Returnables</a:t>
              </a:r>
              <a:r>
                <a:rPr lang="en-US" sz="1050" dirty="0">
                  <a:latin typeface="Unity" panose="020B0505030303020204" pitchFamily="34" charset="0"/>
                </a:rPr>
                <a:t> 9.6 times vs 4.1 in OW</a:t>
              </a:r>
            </a:p>
          </p:txBody>
        </p:sp>
        <p:pic>
          <p:nvPicPr>
            <p:cNvPr id="57" name="Imagen 6">
              <a:extLst>
                <a:ext uri="{FF2B5EF4-FFF2-40B4-BE49-F238E27FC236}">
                  <a16:creationId xmlns:a16="http://schemas.microsoft.com/office/drawing/2014/main" id="{7E5F0178-A8EA-4537-A16F-50BA731DE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44332" y="4409172"/>
              <a:ext cx="424063" cy="848126"/>
            </a:xfrm>
            <a:prstGeom prst="rect">
              <a:avLst/>
            </a:prstGeom>
          </p:spPr>
        </p:pic>
      </p:grpSp>
      <p:pic>
        <p:nvPicPr>
          <p:cNvPr id="64" name="Graphic 63" descr="Exponential Graph with solid fill">
            <a:extLst>
              <a:ext uri="{FF2B5EF4-FFF2-40B4-BE49-F238E27FC236}">
                <a16:creationId xmlns:a16="http://schemas.microsoft.com/office/drawing/2014/main" id="{F9DA9FE3-249E-433B-8E45-811B612C91C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622640" y="2538545"/>
            <a:ext cx="624548" cy="624548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CC57FE03-7549-40DF-9729-B96FBB33972D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30140" b="9627"/>
          <a:stretch/>
        </p:blipFill>
        <p:spPr>
          <a:xfrm>
            <a:off x="9733458" y="2625780"/>
            <a:ext cx="2003787" cy="65032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4DC9A10-D0DE-4790-9A21-DD396924970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52840" y="4488685"/>
            <a:ext cx="1109223" cy="808659"/>
          </a:xfrm>
          <a:prstGeom prst="rect">
            <a:avLst/>
          </a:prstGeom>
        </p:spPr>
      </p:pic>
      <p:pic>
        <p:nvPicPr>
          <p:cNvPr id="48186" name="Picture 58" descr="image">
            <a:extLst>
              <a:ext uri="{FF2B5EF4-FFF2-40B4-BE49-F238E27FC236}">
                <a16:creationId xmlns:a16="http://schemas.microsoft.com/office/drawing/2014/main" id="{A1B10646-8DB0-467D-B6A2-195F304063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2706" y="2511359"/>
            <a:ext cx="279557" cy="83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479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608E55E-CA5B-4320-B228-1041A11DC6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055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608E55E-CA5B-4320-B228-1041A11DC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latin typeface="Unity" panose="020B0505030303020204" pitchFamily="34" charset="0"/>
                <a:ea typeface="Lexend"/>
                <a:cs typeface="Lexend"/>
                <a:sym typeface="Lexend"/>
              </a:rPr>
              <a:t>IN SUMMARY, MARKETS HAS BUILT RGB EDGE THROUGH INTEGRATED SYSTEM EFFORT</a:t>
            </a:r>
          </a:p>
        </p:txBody>
      </p:sp>
      <p:pic>
        <p:nvPicPr>
          <p:cNvPr id="25" name="Picture 87">
            <a:extLst>
              <a:ext uri="{FF2B5EF4-FFF2-40B4-BE49-F238E27FC236}">
                <a16:creationId xmlns:a16="http://schemas.microsoft.com/office/drawing/2014/main" id="{804945E7-3E56-4E99-B9FA-3D27357925F4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20027" t="7326" r="20422" b="2566"/>
          <a:stretch/>
        </p:blipFill>
        <p:spPr>
          <a:xfrm>
            <a:off x="7109288" y="1941388"/>
            <a:ext cx="2704624" cy="2704624"/>
          </a:xfrm>
          <a:prstGeom prst="ellipse">
            <a:avLst/>
          </a:prstGeom>
          <a:ln w="635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</p:pic>
      <p:sp>
        <p:nvSpPr>
          <p:cNvPr id="30" name="TextBox 42">
            <a:extLst>
              <a:ext uri="{FF2B5EF4-FFF2-40B4-BE49-F238E27FC236}">
                <a16:creationId xmlns:a16="http://schemas.microsoft.com/office/drawing/2014/main" id="{910EDF70-49BE-4E5C-BE1E-52AC38AC2EF5}"/>
              </a:ext>
            </a:extLst>
          </p:cNvPr>
          <p:cNvSpPr txBox="1"/>
          <p:nvPr/>
        </p:nvSpPr>
        <p:spPr>
          <a:xfrm>
            <a:off x="9488927" y="1814311"/>
            <a:ext cx="13281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Powered by the brands´ </a:t>
            </a:r>
            <a:r>
              <a:rPr lang="en-US" sz="1600" b="1" dirty="0">
                <a:solidFill>
                  <a:srgbClr val="E82101"/>
                </a:solidFill>
                <a:latin typeface="Unity" panose="020B0505030303020204" pitchFamily="34" charset="0"/>
                <a:cs typeface="Arial"/>
                <a:sym typeface="Arial"/>
              </a:rPr>
              <a:t>Equity</a:t>
            </a:r>
            <a:endParaRPr lang="en-US" sz="1600" dirty="0">
              <a:solidFill>
                <a:srgbClr val="E82101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31" name="CuadroTexto 16">
            <a:extLst>
              <a:ext uri="{FF2B5EF4-FFF2-40B4-BE49-F238E27FC236}">
                <a16:creationId xmlns:a16="http://schemas.microsoft.com/office/drawing/2014/main" id="{681D38DB-54EA-459E-9EBB-9A334F90672A}"/>
              </a:ext>
            </a:extLst>
          </p:cNvPr>
          <p:cNvSpPr txBox="1"/>
          <p:nvPr/>
        </p:nvSpPr>
        <p:spPr>
          <a:xfrm>
            <a:off x="5989840" y="5361219"/>
            <a:ext cx="509756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…but about the whole </a:t>
            </a:r>
            <a:r>
              <a:rPr lang="en-US" sz="1600" b="1" dirty="0">
                <a:solidFill>
                  <a:srgbClr val="E82101"/>
                </a:solidFill>
                <a:latin typeface="Unity" panose="020B0505030303020204" pitchFamily="34" charset="0"/>
                <a:cs typeface="Arial"/>
                <a:sym typeface="Arial"/>
              </a:rPr>
              <a:t>value proposition,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 powered by the Brand’s attributes and Equity, which makes it </a:t>
            </a:r>
            <a:r>
              <a:rPr lang="en-US" sz="1600" b="1" dirty="0">
                <a:solidFill>
                  <a:srgbClr val="E82101"/>
                </a:solidFill>
                <a:latin typeface="Unity" panose="020B0505030303020204" pitchFamily="34" charset="0"/>
                <a:cs typeface="Arial"/>
                <a:sym typeface="Arial"/>
              </a:rPr>
              <a:t>appealing and relevant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 to </a:t>
            </a:r>
            <a:r>
              <a:rPr lang="en-US" sz="160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consumers.</a:t>
            </a:r>
            <a:endParaRPr lang="en-US" sz="1600" dirty="0">
              <a:solidFill>
                <a:prstClr val="black">
                  <a:lumMod val="75000"/>
                  <a:lumOff val="25000"/>
                </a:prstClr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cxnSp>
        <p:nvCxnSpPr>
          <p:cNvPr id="32" name="Conector recto 17">
            <a:extLst>
              <a:ext uri="{FF2B5EF4-FFF2-40B4-BE49-F238E27FC236}">
                <a16:creationId xmlns:a16="http://schemas.microsoft.com/office/drawing/2014/main" id="{3ECECDFF-FBEA-44EB-ACC1-288EB601D774}"/>
              </a:ext>
            </a:extLst>
          </p:cNvPr>
          <p:cNvCxnSpPr/>
          <p:nvPr/>
        </p:nvCxnSpPr>
        <p:spPr>
          <a:xfrm>
            <a:off x="5824376" y="5436253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uadroTexto 18">
            <a:extLst>
              <a:ext uri="{FF2B5EF4-FFF2-40B4-BE49-F238E27FC236}">
                <a16:creationId xmlns:a16="http://schemas.microsoft.com/office/drawing/2014/main" id="{C919B52A-8D51-476A-AC8A-EA7B72BB5CD8}"/>
              </a:ext>
            </a:extLst>
          </p:cNvPr>
          <p:cNvSpPr txBox="1"/>
          <p:nvPr/>
        </p:nvSpPr>
        <p:spPr>
          <a:xfrm>
            <a:off x="2818545" y="5422773"/>
            <a:ext cx="27667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Unity" panose="020B0505030303020204" pitchFamily="34" charset="0"/>
                <a:cs typeface="Arial"/>
                <a:sym typeface="Arial"/>
              </a:rPr>
              <a:t>Glass Edge </a:t>
            </a:r>
            <a:r>
              <a:rPr lang="en-US" sz="1600" b="1" dirty="0">
                <a:solidFill>
                  <a:srgbClr val="E82101"/>
                </a:solidFill>
                <a:latin typeface="Unity" panose="020B0505030303020204" pitchFamily="34" charset="0"/>
                <a:cs typeface="Arial"/>
                <a:sym typeface="Arial"/>
              </a:rPr>
              <a:t>is not only about the bottle</a:t>
            </a:r>
          </a:p>
        </p:txBody>
      </p:sp>
      <p:sp>
        <p:nvSpPr>
          <p:cNvPr id="34" name="Rectángulo 23">
            <a:extLst>
              <a:ext uri="{FF2B5EF4-FFF2-40B4-BE49-F238E27FC236}">
                <a16:creationId xmlns:a16="http://schemas.microsoft.com/office/drawing/2014/main" id="{4A116FB8-F575-4E61-B446-B081907969C0}"/>
              </a:ext>
            </a:extLst>
          </p:cNvPr>
          <p:cNvSpPr/>
          <p:nvPr/>
        </p:nvSpPr>
        <p:spPr>
          <a:xfrm>
            <a:off x="10838889" y="1843107"/>
            <a:ext cx="69515" cy="904291"/>
          </a:xfrm>
          <a:prstGeom prst="rect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1600" dirty="0">
              <a:solidFill>
                <a:prstClr val="white"/>
              </a:solidFill>
              <a:latin typeface="Unity" panose="020B0505030303020204" pitchFamily="34" charset="0"/>
              <a:sym typeface="Arial"/>
            </a:endParaRPr>
          </a:p>
        </p:txBody>
      </p:sp>
      <p:grpSp>
        <p:nvGrpSpPr>
          <p:cNvPr id="35" name="Agrupar 32">
            <a:extLst>
              <a:ext uri="{FF2B5EF4-FFF2-40B4-BE49-F238E27FC236}">
                <a16:creationId xmlns:a16="http://schemas.microsoft.com/office/drawing/2014/main" id="{A4FC3D91-3867-4804-9F0C-B6F2239AD0FC}"/>
              </a:ext>
            </a:extLst>
          </p:cNvPr>
          <p:cNvGrpSpPr/>
          <p:nvPr/>
        </p:nvGrpSpPr>
        <p:grpSpPr>
          <a:xfrm>
            <a:off x="1323094" y="1566535"/>
            <a:ext cx="4798129" cy="3583831"/>
            <a:chOff x="1226061" y="1733372"/>
            <a:chExt cx="5277942" cy="3942214"/>
          </a:xfrm>
        </p:grpSpPr>
        <p:sp>
          <p:nvSpPr>
            <p:cNvPr id="43" name="Rectángulo redondeado 31">
              <a:extLst>
                <a:ext uri="{FF2B5EF4-FFF2-40B4-BE49-F238E27FC236}">
                  <a16:creationId xmlns:a16="http://schemas.microsoft.com/office/drawing/2014/main" id="{886CAE6E-F52A-493A-B2A2-E5C286CCA030}"/>
                </a:ext>
              </a:extLst>
            </p:cNvPr>
            <p:cNvSpPr/>
            <p:nvPr/>
          </p:nvSpPr>
          <p:spPr>
            <a:xfrm>
              <a:off x="1226061" y="1733372"/>
              <a:ext cx="5277942" cy="394221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US" sz="1600" dirty="0">
                <a:solidFill>
                  <a:prstClr val="white"/>
                </a:solidFill>
                <a:latin typeface="Unity" panose="020B0505030303020204" pitchFamily="34" charset="0"/>
                <a:sym typeface="Arial"/>
              </a:endParaRPr>
            </a:p>
          </p:txBody>
        </p:sp>
        <p:sp>
          <p:nvSpPr>
            <p:cNvPr id="44" name="TextBox 39">
              <a:extLst>
                <a:ext uri="{FF2B5EF4-FFF2-40B4-BE49-F238E27FC236}">
                  <a16:creationId xmlns:a16="http://schemas.microsoft.com/office/drawing/2014/main" id="{A85F4AA2-4822-4556-8439-97AB200C4340}"/>
                </a:ext>
              </a:extLst>
            </p:cNvPr>
            <p:cNvSpPr txBox="1"/>
            <p:nvPr/>
          </p:nvSpPr>
          <p:spPr>
            <a:xfrm rot="16200000">
              <a:off x="873514" y="3478335"/>
              <a:ext cx="1794682" cy="37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cs typeface="Arial"/>
                  <a:sym typeface="Arial"/>
                </a:rPr>
                <a:t>Relevance</a:t>
              </a:r>
            </a:p>
          </p:txBody>
        </p:sp>
        <p:sp>
          <p:nvSpPr>
            <p:cNvPr id="45" name="TextBox 40">
              <a:extLst>
                <a:ext uri="{FF2B5EF4-FFF2-40B4-BE49-F238E27FC236}">
                  <a16:creationId xmlns:a16="http://schemas.microsoft.com/office/drawing/2014/main" id="{51F76101-6B8F-4792-887A-87D2E9D93542}"/>
                </a:ext>
              </a:extLst>
            </p:cNvPr>
            <p:cNvSpPr txBox="1"/>
            <p:nvPr/>
          </p:nvSpPr>
          <p:spPr>
            <a:xfrm>
              <a:off x="2902426" y="5120797"/>
              <a:ext cx="2206683" cy="37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6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cs typeface="Arial"/>
                  <a:sym typeface="Arial"/>
                </a:rPr>
                <a:t>Uniqueness</a:t>
              </a:r>
            </a:p>
          </p:txBody>
        </p:sp>
        <p:sp>
          <p:nvSpPr>
            <p:cNvPr id="46" name="Rectangle 41">
              <a:extLst>
                <a:ext uri="{FF2B5EF4-FFF2-40B4-BE49-F238E27FC236}">
                  <a16:creationId xmlns:a16="http://schemas.microsoft.com/office/drawing/2014/main" id="{D4181EFB-C6C1-4C5F-B919-67DF6AD59D77}"/>
                </a:ext>
              </a:extLst>
            </p:cNvPr>
            <p:cNvSpPr/>
            <p:nvPr/>
          </p:nvSpPr>
          <p:spPr>
            <a:xfrm>
              <a:off x="2244352" y="2748477"/>
              <a:ext cx="4018870" cy="166646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457189" indent="-457189" defTabSz="914377">
                <a:spcBef>
                  <a:spcPts val="600"/>
                </a:spcBef>
                <a:buClr>
                  <a:srgbClr val="E82101"/>
                </a:buClr>
                <a:buFont typeface="Wingdings" charset="2"/>
                <a:buChar char="ü"/>
                <a:defRPr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sym typeface="Arial"/>
                </a:rPr>
                <a:t>Smart shopper</a:t>
              </a:r>
            </a:p>
            <a:p>
              <a:pPr marL="457189" indent="-457189" defTabSz="914377">
                <a:spcBef>
                  <a:spcPts val="600"/>
                </a:spcBef>
                <a:buClr>
                  <a:srgbClr val="E82101"/>
                </a:buClr>
                <a:buFont typeface="Wingdings" charset="2"/>
                <a:buChar char="ü"/>
                <a:defRPr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sym typeface="Arial"/>
                </a:rPr>
                <a:t>Affordability</a:t>
              </a:r>
            </a:p>
            <a:p>
              <a:pPr marL="457189" indent="-457189" defTabSz="914377">
                <a:spcBef>
                  <a:spcPts val="600"/>
                </a:spcBef>
                <a:buClr>
                  <a:srgbClr val="E82101"/>
                </a:buClr>
                <a:buFont typeface="Wingdings" charset="2"/>
                <a:buChar char="ü"/>
                <a:defRPr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sym typeface="Arial"/>
                </a:rPr>
                <a:t>Best consumption experience</a:t>
              </a:r>
            </a:p>
            <a:p>
              <a:pPr marL="457189" indent="-457189" defTabSz="914377">
                <a:spcBef>
                  <a:spcPts val="600"/>
                </a:spcBef>
                <a:buClr>
                  <a:srgbClr val="E82101"/>
                </a:buClr>
                <a:buFont typeface="Wingdings" charset="2"/>
                <a:buChar char="ü"/>
                <a:defRPr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sym typeface="Arial"/>
                </a:rPr>
                <a:t>“Iconic” experience</a:t>
              </a:r>
            </a:p>
            <a:p>
              <a:pPr marL="457189" indent="-457189" defTabSz="914377">
                <a:spcBef>
                  <a:spcPts val="600"/>
                </a:spcBef>
                <a:buClr>
                  <a:srgbClr val="E82101"/>
                </a:buClr>
                <a:buFont typeface="Wingdings" charset="2"/>
                <a:buChar char="ü"/>
                <a:defRPr/>
              </a:pPr>
              <a:r>
                <a:rPr lang="en-US" sz="16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Unity" panose="020B0505030303020204" pitchFamily="34" charset="0"/>
                  <a:sym typeface="Arial"/>
                </a:rPr>
                <a:t>Better for the environment</a:t>
              </a:r>
            </a:p>
          </p:txBody>
        </p:sp>
        <p:sp>
          <p:nvSpPr>
            <p:cNvPr id="47" name="TextBox 88">
              <a:extLst>
                <a:ext uri="{FF2B5EF4-FFF2-40B4-BE49-F238E27FC236}">
                  <a16:creationId xmlns:a16="http://schemas.microsoft.com/office/drawing/2014/main" id="{B7B182E5-3D75-423D-B82C-2BEED50DB166}"/>
                </a:ext>
              </a:extLst>
            </p:cNvPr>
            <p:cNvSpPr txBox="1"/>
            <p:nvPr/>
          </p:nvSpPr>
          <p:spPr>
            <a:xfrm>
              <a:off x="2387891" y="2235845"/>
              <a:ext cx="3389572" cy="37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sz="1600" b="1" dirty="0">
                  <a:solidFill>
                    <a:srgbClr val="E82101"/>
                  </a:solidFill>
                  <a:latin typeface="Unity" panose="020B0505030303020204" pitchFamily="34" charset="0"/>
                  <a:cs typeface="Arial"/>
                  <a:sym typeface="Arial"/>
                </a:rPr>
                <a:t>RGB’s EDGE</a:t>
              </a:r>
            </a:p>
          </p:txBody>
        </p:sp>
        <p:cxnSp>
          <p:nvCxnSpPr>
            <p:cNvPr id="48" name="Conector recto de flecha 20">
              <a:extLst>
                <a:ext uri="{FF2B5EF4-FFF2-40B4-BE49-F238E27FC236}">
                  <a16:creationId xmlns:a16="http://schemas.microsoft.com/office/drawing/2014/main" id="{2D8489A0-DF34-421E-8725-14ADB3AC5B8A}"/>
                </a:ext>
              </a:extLst>
            </p:cNvPr>
            <p:cNvCxnSpPr/>
            <p:nvPr/>
          </p:nvCxnSpPr>
          <p:spPr>
            <a:xfrm flipV="1">
              <a:off x="2116625" y="2326695"/>
              <a:ext cx="0" cy="2649764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de flecha 22">
              <a:extLst>
                <a:ext uri="{FF2B5EF4-FFF2-40B4-BE49-F238E27FC236}">
                  <a16:creationId xmlns:a16="http://schemas.microsoft.com/office/drawing/2014/main" id="{DD87C3D3-20D6-440F-B92E-A6B972539BB9}"/>
                </a:ext>
              </a:extLst>
            </p:cNvPr>
            <p:cNvCxnSpPr/>
            <p:nvPr/>
          </p:nvCxnSpPr>
          <p:spPr>
            <a:xfrm>
              <a:off x="2116625" y="4976459"/>
              <a:ext cx="3797884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Imagen 30">
              <a:extLst>
                <a:ext uri="{FF2B5EF4-FFF2-40B4-BE49-F238E27FC236}">
                  <a16:creationId xmlns:a16="http://schemas.microsoft.com/office/drawing/2014/main" id="{A7F11666-0D99-49C9-9B09-F9F5BEA08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5150" y="2043953"/>
              <a:ext cx="353487" cy="369129"/>
            </a:xfrm>
            <a:prstGeom prst="rect">
              <a:avLst/>
            </a:prstGeom>
          </p:spPr>
        </p:pic>
      </p:grpSp>
      <p:cxnSp>
        <p:nvCxnSpPr>
          <p:cNvPr id="51" name="Conector recto 21">
            <a:extLst>
              <a:ext uri="{FF2B5EF4-FFF2-40B4-BE49-F238E27FC236}">
                <a16:creationId xmlns:a16="http://schemas.microsoft.com/office/drawing/2014/main" id="{08167588-C793-4F69-BFEF-D6DED66F8AFB}"/>
              </a:ext>
            </a:extLst>
          </p:cNvPr>
          <p:cNvCxnSpPr/>
          <p:nvPr/>
        </p:nvCxnSpPr>
        <p:spPr>
          <a:xfrm>
            <a:off x="2681265" y="5466974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Picture 4" descr="Image result for remember image">
            <a:extLst>
              <a:ext uri="{FF2B5EF4-FFF2-40B4-BE49-F238E27FC236}">
                <a16:creationId xmlns:a16="http://schemas.microsoft.com/office/drawing/2014/main" id="{898474A2-2509-4A33-BFE9-A9AEBAF3F4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647" b="91239" l="15417" r="76250">
                        <a14:foregroundMark x1="27292" y1="8761" x2="33750" y2="8761"/>
                        <a14:foregroundMark x1="76250" y1="21752" x2="74792" y2="37160"/>
                        <a14:foregroundMark x1="67292" y1="89728" x2="63333" y2="89124"/>
                        <a14:foregroundMark x1="17917" y1="76435" x2="20208" y2="65257"/>
                        <a14:foregroundMark x1="20208" y1="65257" x2="20208" y2="62840"/>
                        <a14:foregroundMark x1="15417" y1="78852" x2="16250" y2="75831"/>
                        <a14:foregroundMark x1="71042" y1="91239" x2="72292" y2="66465"/>
                        <a14:foregroundMark x1="26458" y1="6647" x2="29167" y2="78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549" r="19510" b="2858"/>
          <a:stretch/>
        </p:blipFill>
        <p:spPr bwMode="auto">
          <a:xfrm>
            <a:off x="1468704" y="5437987"/>
            <a:ext cx="903389" cy="89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534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>
            <a:extLst>
              <a:ext uri="{FF2B5EF4-FFF2-40B4-BE49-F238E27FC236}">
                <a16:creationId xmlns:a16="http://schemas.microsoft.com/office/drawing/2014/main" id="{68F54E1F-C921-CA25-28DA-B9FED9F395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96328" y="2580130"/>
            <a:ext cx="8688436" cy="84887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1D92DE5-730C-74DA-307A-80120B91F1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3886" y="4060000"/>
            <a:ext cx="8688436" cy="84887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45E150A-B4A6-1E8D-CF45-EEAA49DBB630}"/>
              </a:ext>
            </a:extLst>
          </p:cNvPr>
          <p:cNvSpPr txBox="1"/>
          <p:nvPr/>
        </p:nvSpPr>
        <p:spPr>
          <a:xfrm>
            <a:off x="1623071" y="2702537"/>
            <a:ext cx="1092090" cy="11111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0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65F50D6-5BA4-B649-E67C-5C9F6C7DA757}"/>
              </a:ext>
            </a:extLst>
          </p:cNvPr>
          <p:cNvSpPr txBox="1"/>
          <p:nvPr/>
        </p:nvSpPr>
        <p:spPr>
          <a:xfrm>
            <a:off x="1597536" y="4108615"/>
            <a:ext cx="1251378" cy="111117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Unity" panose="020B0505030303020204" pitchFamily="34" charset="0"/>
                <a:ea typeface="+mn-ea"/>
                <a:cs typeface="+mn-cs"/>
              </a:rPr>
              <a:t>02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8E48D-D45D-44A5-58A2-ACEB55348976}"/>
              </a:ext>
            </a:extLst>
          </p:cNvPr>
          <p:cNvSpPr txBox="1"/>
          <p:nvPr/>
        </p:nvSpPr>
        <p:spPr>
          <a:xfrm>
            <a:off x="3029151" y="2687879"/>
            <a:ext cx="7930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Driving the sustainable magic price point to recruit mass consumer base</a:t>
            </a:r>
          </a:p>
        </p:txBody>
      </p:sp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D5126869-1ABF-47DC-9022-A9052DC14F87}"/>
              </a:ext>
            </a:extLst>
          </p:cNvPr>
          <p:cNvSpPr txBox="1"/>
          <p:nvPr/>
        </p:nvSpPr>
        <p:spPr>
          <a:xfrm>
            <a:off x="2131352" y="454466"/>
            <a:ext cx="9209748" cy="61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" sz="2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CCC-UnityHeadline" panose="020B0605030303020204" pitchFamily="2" charset="0"/>
                <a:ea typeface="Lexend"/>
                <a:cs typeface="Lexend"/>
                <a:sym typeface="Lexend"/>
              </a:rPr>
              <a:t>TWO CASE STUDIES FOR TODAY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CCC-UnityHeadline" panose="020B0605030303020204" pitchFamily="2" charset="0"/>
              <a:ea typeface="Lexend"/>
              <a:cs typeface="Lexend"/>
              <a:sym typeface="Lexend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CFEB997-496D-4CCF-9B4C-C819FA222D53}"/>
              </a:ext>
            </a:extLst>
          </p:cNvPr>
          <p:cNvSpPr txBox="1"/>
          <p:nvPr/>
        </p:nvSpPr>
        <p:spPr>
          <a:xfrm>
            <a:off x="3029151" y="4148251"/>
            <a:ext cx="8095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Reset RTM together with clear consumer &amp; trade support to drive premiumization in </a:t>
            </a:r>
            <a:r>
              <a:rPr kumimoji="0" lang="en-US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HoReCa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Unity" panose="020B0505030303020204" pitchFamily="34" charset="0"/>
            </a:endParaRPr>
          </a:p>
        </p:txBody>
      </p:sp>
      <p:pic>
        <p:nvPicPr>
          <p:cNvPr id="46082" name="Picture 2" descr="South africa - Free flags icons">
            <a:extLst>
              <a:ext uri="{FF2B5EF4-FFF2-40B4-BE49-F238E27FC236}">
                <a16:creationId xmlns:a16="http://schemas.microsoft.com/office/drawing/2014/main" id="{5E3A44D3-F117-4AB7-8104-A9F069753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236" y="2706019"/>
            <a:ext cx="787400" cy="78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6" name="Picture 6" descr="Round icon. Illustration of flag of Spain">
            <a:extLst>
              <a:ext uri="{FF2B5EF4-FFF2-40B4-BE49-F238E27FC236}">
                <a16:creationId xmlns:a16="http://schemas.microsoft.com/office/drawing/2014/main" id="{EC96E369-96FB-45B2-B89A-EDDBA6B247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7216" b="92784" l="9653" r="89575">
                        <a14:foregroundMark x1="41313" y1="91237" x2="61390" y2="92784"/>
                        <a14:foregroundMark x1="44788" y1="8247" x2="55985" y2="72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62" y="4010316"/>
            <a:ext cx="1265948" cy="948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383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CDF03A-B0A3-4CC8-ADD9-D74AD05EF8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41695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5CDF03A-B0A3-4CC8-ADD9-D74AD05EF8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3DD836FF-3CA3-472D-A339-11E7CD1D000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4714875"/>
            <a:ext cx="7629525" cy="1093788"/>
          </a:xfrm>
        </p:spPr>
        <p:txBody>
          <a:bodyPr vert="horz">
            <a:noAutofit/>
          </a:bodyPr>
          <a:lstStyle/>
          <a:p>
            <a:r>
              <a:rPr lang="en-US" sz="2400">
                <a:latin typeface="TCCC-UnityTextPC" panose="020B0505030303020204" pitchFamily="34" charset="0"/>
              </a:rPr>
              <a:t>South Africa - Recruitment</a:t>
            </a:r>
            <a:endParaRPr lang="en-US" sz="2400" dirty="0">
              <a:latin typeface="TCCC-UnityTextPC" panose="020B0505030303020204" pitchFamily="34" charset="0"/>
            </a:endParaRPr>
          </a:p>
        </p:txBody>
      </p:sp>
      <p:pic>
        <p:nvPicPr>
          <p:cNvPr id="5" name="Content Placeholder 6" descr="Shape&#10;&#10;Description automatically generated">
            <a:extLst>
              <a:ext uri="{FF2B5EF4-FFF2-40B4-BE49-F238E27FC236}">
                <a16:creationId xmlns:a16="http://schemas.microsoft.com/office/drawing/2014/main" id="{67DDD04F-CABF-4D08-93AA-BB7B1E15B49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5179"/>
          <a:stretch/>
        </p:blipFill>
        <p:spPr>
          <a:xfrm>
            <a:off x="0" y="0"/>
            <a:ext cx="7903029" cy="6858000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picture containing arrow&#10;&#10;Description automatically generated">
            <a:extLst>
              <a:ext uri="{FF2B5EF4-FFF2-40B4-BE49-F238E27FC236}">
                <a16:creationId xmlns:a16="http://schemas.microsoft.com/office/drawing/2014/main" id="{9BC717B4-E4B5-49EA-BC1A-E8E22EA320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4619" y="260698"/>
            <a:ext cx="2228850" cy="22288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A84F666-7190-4605-B6EB-201F94A42A36}"/>
              </a:ext>
            </a:extLst>
          </p:cNvPr>
          <p:cNvSpPr txBox="1"/>
          <p:nvPr/>
        </p:nvSpPr>
        <p:spPr>
          <a:xfrm>
            <a:off x="1538744" y="2290961"/>
            <a:ext cx="371905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South Africa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prstClr val="white"/>
              </a:solidFill>
              <a:latin typeface="Unity" panose="020B0505030303020204" pitchFamily="34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Unity" panose="020B0505030303020204" pitchFamily="34" charset="0"/>
              </a:rPr>
              <a:t>D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Unity" panose="020B0505030303020204" pitchFamily="34" charset="0"/>
              </a:rPr>
              <a:t>riving the sustainable magic price point to recruit mass consumer base</a:t>
            </a:r>
          </a:p>
        </p:txBody>
      </p:sp>
      <p:pic>
        <p:nvPicPr>
          <p:cNvPr id="11" name="Picture 2" descr="South africa - Free flags icons">
            <a:extLst>
              <a:ext uri="{FF2B5EF4-FFF2-40B4-BE49-F238E27FC236}">
                <a16:creationId xmlns:a16="http://schemas.microsoft.com/office/drawing/2014/main" id="{F9A0604F-F807-44E9-93A6-3363FAD564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2264" y="2164176"/>
            <a:ext cx="650744" cy="650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92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49C046-12FC-4615-A5B4-A60E2743A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17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49C046-12FC-4615-A5B4-A60E2743A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2134899" cy="2129425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latin typeface="Unity" panose="020B0505030303020204" pitchFamily="34" charset="0"/>
                <a:ea typeface="Lexend"/>
                <a:cs typeface="Lexend"/>
                <a:sym typeface="Lexend"/>
              </a:rPr>
              <a:t>South Africa heavily reliant on the SEC A consumption for revenue and profitabilit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C1DF6A0-37DA-4C5D-9F8A-A1A6636BCC24}"/>
              </a:ext>
            </a:extLst>
          </p:cNvPr>
          <p:cNvSpPr txBox="1"/>
          <p:nvPr/>
        </p:nvSpPr>
        <p:spPr>
          <a:xfrm>
            <a:off x="507927" y="3200511"/>
            <a:ext cx="1249035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defTabSz="914377">
              <a:defRPr/>
            </a:pPr>
            <a:r>
              <a:rPr lang="en-US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High</a:t>
            </a:r>
            <a:r>
              <a:rPr lang="en-US" sz="24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 </a:t>
            </a:r>
            <a:endParaRPr lang="en-US" sz="1200" b="1" kern="0" dirty="0">
              <a:solidFill>
                <a:prstClr val="black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7C9C7E4-531E-48DC-A514-C80F39231E59}"/>
              </a:ext>
            </a:extLst>
          </p:cNvPr>
          <p:cNvSpPr txBox="1"/>
          <p:nvPr/>
        </p:nvSpPr>
        <p:spPr>
          <a:xfrm>
            <a:off x="507925" y="4235972"/>
            <a:ext cx="1249035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defTabSz="914377">
              <a:defRPr/>
            </a:pPr>
            <a:r>
              <a:rPr lang="en-US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Medium</a:t>
            </a:r>
            <a:r>
              <a:rPr lang="en-US" sz="24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 </a:t>
            </a:r>
            <a:endParaRPr lang="en-US" sz="1200" b="1" kern="0" dirty="0">
              <a:solidFill>
                <a:srgbClr val="C00000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E6579D-1E10-4D03-AA0A-A73030FA6E05}"/>
              </a:ext>
            </a:extLst>
          </p:cNvPr>
          <p:cNvSpPr txBox="1"/>
          <p:nvPr/>
        </p:nvSpPr>
        <p:spPr>
          <a:xfrm>
            <a:off x="507925" y="5208295"/>
            <a:ext cx="1249035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defTabSz="914377">
              <a:defRPr/>
            </a:pPr>
            <a:r>
              <a:rPr lang="en-US" sz="2000" b="1" kern="0" dirty="0">
                <a:solidFill>
                  <a:srgbClr val="44546A"/>
                </a:solidFill>
                <a:latin typeface="Arial Rounded MT Bold" panose="020F0704030504030204" pitchFamily="34" charset="0"/>
                <a:cs typeface="Arial"/>
                <a:sym typeface="Arial"/>
              </a:rPr>
              <a:t>Low</a:t>
            </a:r>
            <a:r>
              <a:rPr lang="en-US" sz="2800" b="1" kern="0" dirty="0">
                <a:solidFill>
                  <a:srgbClr val="44546A"/>
                </a:solidFill>
                <a:latin typeface="Arial Rounded MT Bold" panose="020F0704030504030204" pitchFamily="34" charset="0"/>
                <a:cs typeface="Arial"/>
                <a:sym typeface="Arial"/>
              </a:rPr>
              <a:t> </a:t>
            </a:r>
            <a:endParaRPr lang="en-US" sz="1400" b="1" kern="0" dirty="0">
              <a:solidFill>
                <a:srgbClr val="44546A"/>
              </a:solidFill>
              <a:latin typeface="Arial Rounded MT Bold" panose="020F0704030504030204" pitchFamily="34" charset="0"/>
              <a:cs typeface="Arial"/>
              <a:sym typeface="Arial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1E23BF4-9D5F-47B2-80C8-3C70DEA7FB92}"/>
              </a:ext>
            </a:extLst>
          </p:cNvPr>
          <p:cNvCxnSpPr/>
          <p:nvPr/>
        </p:nvCxnSpPr>
        <p:spPr>
          <a:xfrm>
            <a:off x="507927" y="3662175"/>
            <a:ext cx="10836000" cy="0"/>
          </a:xfrm>
          <a:prstGeom prst="line">
            <a:avLst/>
          </a:prstGeom>
          <a:noFill/>
          <a:ln w="9525" cap="flat" cmpd="sng" algn="ctr">
            <a:solidFill>
              <a:schemeClr val="accent4"/>
            </a:solidFill>
            <a:prstDash val="sysDot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E6988E1A-0947-44AF-B04D-B41C570B7C40}"/>
              </a:ext>
            </a:extLst>
          </p:cNvPr>
          <p:cNvCxnSpPr/>
          <p:nvPr/>
        </p:nvCxnSpPr>
        <p:spPr>
          <a:xfrm flipV="1">
            <a:off x="507927" y="4700753"/>
            <a:ext cx="10836000" cy="0"/>
          </a:xfrm>
          <a:prstGeom prst="line">
            <a:avLst/>
          </a:prstGeom>
          <a:noFill/>
          <a:ln w="9525" cap="flat" cmpd="sng" algn="ctr">
            <a:solidFill>
              <a:srgbClr val="C00000"/>
            </a:solidFill>
            <a:prstDash val="sysDot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0F8CF9A-1014-4154-8160-019006BEE8A9}"/>
              </a:ext>
            </a:extLst>
          </p:cNvPr>
          <p:cNvCxnSpPr/>
          <p:nvPr/>
        </p:nvCxnSpPr>
        <p:spPr>
          <a:xfrm flipV="1">
            <a:off x="507927" y="5731515"/>
            <a:ext cx="10836000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ysDot"/>
          </a:ln>
          <a:effectLst/>
        </p:spPr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2DCDD721-1193-4492-9D9F-2F6FCCEDB843}"/>
              </a:ext>
            </a:extLst>
          </p:cNvPr>
          <p:cNvSpPr txBox="1"/>
          <p:nvPr/>
        </p:nvSpPr>
        <p:spPr>
          <a:xfrm>
            <a:off x="4412910" y="3008262"/>
            <a:ext cx="106580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745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713A4B8-CE30-41B0-A214-A620EEC79EF6}"/>
              </a:ext>
            </a:extLst>
          </p:cNvPr>
          <p:cNvSpPr txBox="1"/>
          <p:nvPr/>
        </p:nvSpPr>
        <p:spPr>
          <a:xfrm>
            <a:off x="4556722" y="4018136"/>
            <a:ext cx="778183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145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5B06094-E182-43B3-A0E7-27C2AB200A83}"/>
              </a:ext>
            </a:extLst>
          </p:cNvPr>
          <p:cNvSpPr txBox="1"/>
          <p:nvPr/>
        </p:nvSpPr>
        <p:spPr>
          <a:xfrm>
            <a:off x="4556722" y="5059597"/>
            <a:ext cx="778183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124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7983115-C66F-4F2C-97B1-7F43109538BC}"/>
              </a:ext>
            </a:extLst>
          </p:cNvPr>
          <p:cNvSpPr txBox="1"/>
          <p:nvPr/>
        </p:nvSpPr>
        <p:spPr>
          <a:xfrm>
            <a:off x="6466285" y="3008720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64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B2524BF7-E88D-4719-ADF7-A93009156952}"/>
              </a:ext>
            </a:extLst>
          </p:cNvPr>
          <p:cNvSpPr txBox="1"/>
          <p:nvPr/>
        </p:nvSpPr>
        <p:spPr>
          <a:xfrm>
            <a:off x="6466285" y="4018136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29%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DA30FC0-22D6-4F4B-ADFA-937CC341A13F}"/>
              </a:ext>
            </a:extLst>
          </p:cNvPr>
          <p:cNvSpPr txBox="1"/>
          <p:nvPr/>
        </p:nvSpPr>
        <p:spPr>
          <a:xfrm>
            <a:off x="6466285" y="5059598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7%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4F7D044D-36F6-4FED-9B31-51E1520795B2}"/>
              </a:ext>
            </a:extLst>
          </p:cNvPr>
          <p:cNvSpPr/>
          <p:nvPr/>
        </p:nvSpPr>
        <p:spPr>
          <a:xfrm>
            <a:off x="4394467" y="2850702"/>
            <a:ext cx="5104640" cy="685015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600" dirty="0">
              <a:solidFill>
                <a:srgbClr val="000000"/>
              </a:solidFill>
              <a:latin typeface="Unity" panose="020B0505030303020204" pitchFamily="34" charset="0"/>
              <a:sym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CA39790-67FD-4BDE-85BB-31FB02FDCB30}"/>
              </a:ext>
            </a:extLst>
          </p:cNvPr>
          <p:cNvSpPr txBox="1"/>
          <p:nvPr/>
        </p:nvSpPr>
        <p:spPr>
          <a:xfrm>
            <a:off x="2446927" y="4046609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29.1</a:t>
            </a:r>
            <a:r>
              <a:rPr lang="en-US" sz="1200" b="1" kern="0" dirty="0" err="1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Mn</a:t>
            </a:r>
            <a:endParaRPr lang="en-US" sz="1200" b="1" kern="0" dirty="0">
              <a:solidFill>
                <a:srgbClr val="C00000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(53%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5CFBA38-39A1-40F2-B980-9F68EEB8CC3B}"/>
              </a:ext>
            </a:extLst>
          </p:cNvPr>
          <p:cNvSpPr txBox="1"/>
          <p:nvPr/>
        </p:nvSpPr>
        <p:spPr>
          <a:xfrm>
            <a:off x="2446927" y="3259209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13.3Mn</a:t>
            </a:r>
          </a:p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(24%)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77F91AF-D5FC-4F81-A1E6-AB7FD03F7035}"/>
              </a:ext>
            </a:extLst>
          </p:cNvPr>
          <p:cNvSpPr txBox="1"/>
          <p:nvPr/>
        </p:nvSpPr>
        <p:spPr>
          <a:xfrm>
            <a:off x="2431198" y="4992395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12.6</a:t>
            </a:r>
            <a:r>
              <a:rPr lang="en-US" sz="1200" b="1" kern="0" dirty="0" err="1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Mn</a:t>
            </a:r>
            <a:endParaRPr lang="en-US" sz="1200" b="1" kern="0" dirty="0">
              <a:solidFill>
                <a:srgbClr val="44546A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algn="ctr" defTabSz="914377">
              <a:lnSpc>
                <a:spcPct val="90000"/>
              </a:lnSpc>
              <a:defRPr/>
            </a:pPr>
            <a:r>
              <a:rPr lang="en-US" sz="12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(23%)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1A79609-F9A9-49B4-B26E-687419BFFCC7}"/>
              </a:ext>
            </a:extLst>
          </p:cNvPr>
          <p:cNvGrpSpPr/>
          <p:nvPr/>
        </p:nvGrpSpPr>
        <p:grpSpPr>
          <a:xfrm>
            <a:off x="1784121" y="2706243"/>
            <a:ext cx="2088639" cy="3019551"/>
            <a:chOff x="3555769" y="2477643"/>
            <a:chExt cx="2088639" cy="3019550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6632EF47-8D95-4AB1-9E29-67C258D7E303}"/>
                </a:ext>
              </a:extLst>
            </p:cNvPr>
            <p:cNvCxnSpPr/>
            <p:nvPr/>
          </p:nvCxnSpPr>
          <p:spPr>
            <a:xfrm flipH="1">
              <a:off x="3560414" y="2477643"/>
              <a:ext cx="1045142" cy="1991393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9194E4C4-5DF2-4C96-8DC4-5ACAE6BC8605}"/>
                </a:ext>
              </a:extLst>
            </p:cNvPr>
            <p:cNvCxnSpPr/>
            <p:nvPr/>
          </p:nvCxnSpPr>
          <p:spPr>
            <a:xfrm>
              <a:off x="4605556" y="2480760"/>
              <a:ext cx="1038852" cy="1985672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DFA75B46-5CBA-4709-928D-A0589E3E6B3A}"/>
                </a:ext>
              </a:extLst>
            </p:cNvPr>
            <p:cNvCxnSpPr>
              <a:cxnSpLocks/>
            </p:cNvCxnSpPr>
            <p:nvPr/>
          </p:nvCxnSpPr>
          <p:spPr>
            <a:xfrm>
              <a:off x="3555769" y="4469035"/>
              <a:ext cx="1055353" cy="1028158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C372299-CE78-4377-B5FD-8D52073B805B}"/>
                </a:ext>
              </a:extLst>
            </p:cNvPr>
            <p:cNvCxnSpPr/>
            <p:nvPr/>
          </p:nvCxnSpPr>
          <p:spPr>
            <a:xfrm flipV="1">
              <a:off x="4602411" y="4466432"/>
              <a:ext cx="1041997" cy="1017120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TextBox 64">
            <a:extLst>
              <a:ext uri="{FF2B5EF4-FFF2-40B4-BE49-F238E27FC236}">
                <a16:creationId xmlns:a16="http://schemas.microsoft.com/office/drawing/2014/main" id="{881A93C7-C0D6-4D1E-8642-720EC0464A48}"/>
              </a:ext>
            </a:extLst>
          </p:cNvPr>
          <p:cNvSpPr txBox="1"/>
          <p:nvPr/>
        </p:nvSpPr>
        <p:spPr>
          <a:xfrm>
            <a:off x="8347922" y="3014163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70%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3F1E793-09ED-4F80-8FC2-5724F0D9B615}"/>
              </a:ext>
            </a:extLst>
          </p:cNvPr>
          <p:cNvSpPr txBox="1"/>
          <p:nvPr/>
        </p:nvSpPr>
        <p:spPr>
          <a:xfrm>
            <a:off x="8347922" y="4023577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23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46D63003-6C1D-4E89-8A9A-CF822D595DC7}"/>
              </a:ext>
            </a:extLst>
          </p:cNvPr>
          <p:cNvSpPr txBox="1"/>
          <p:nvPr/>
        </p:nvSpPr>
        <p:spPr>
          <a:xfrm>
            <a:off x="8347922" y="5065041"/>
            <a:ext cx="799127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7%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2F8408B-D491-4F63-AF03-83A7ECEB1ECC}"/>
              </a:ext>
            </a:extLst>
          </p:cNvPr>
          <p:cNvGrpSpPr/>
          <p:nvPr/>
        </p:nvGrpSpPr>
        <p:grpSpPr>
          <a:xfrm>
            <a:off x="1788764" y="2125987"/>
            <a:ext cx="9598891" cy="482970"/>
            <a:chOff x="1788764" y="2125987"/>
            <a:chExt cx="9598891" cy="482970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D864A07-D782-436A-97AC-9257F5072CAC}"/>
                </a:ext>
              </a:extLst>
            </p:cNvPr>
            <p:cNvSpPr txBox="1"/>
            <p:nvPr/>
          </p:nvSpPr>
          <p:spPr>
            <a:xfrm>
              <a:off x="1788764" y="2128825"/>
              <a:ext cx="2083995" cy="48013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South Africa pop. Living standard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024C80C-6355-49C7-A654-7E5A4D5E58BD}"/>
                </a:ext>
              </a:extLst>
            </p:cNvPr>
            <p:cNvSpPr txBox="1"/>
            <p:nvPr/>
          </p:nvSpPr>
          <p:spPr>
            <a:xfrm>
              <a:off x="3818849" y="2128825"/>
              <a:ext cx="2194695" cy="48013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SSD</a:t>
              </a:r>
              <a:b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</a:b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Per Caps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C925AE7-FB84-416B-ADDA-9E40892EB245}"/>
                </a:ext>
              </a:extLst>
            </p:cNvPr>
            <p:cNvSpPr txBox="1"/>
            <p:nvPr/>
          </p:nvSpPr>
          <p:spPr>
            <a:xfrm>
              <a:off x="6004501" y="2128826"/>
              <a:ext cx="1836000" cy="48013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System </a:t>
              </a:r>
            </a:p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Net Revenue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9EF1A0A-6CDB-4362-8EBC-B2447DA380E1}"/>
                </a:ext>
              </a:extLst>
            </p:cNvPr>
            <p:cNvSpPr txBox="1"/>
            <p:nvPr/>
          </p:nvSpPr>
          <p:spPr>
            <a:xfrm>
              <a:off x="7797695" y="2128824"/>
              <a:ext cx="1836000" cy="48013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System </a:t>
              </a:r>
            </a:p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EBIT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316FFB14-D543-4F0A-A1B3-6A951618EE45}"/>
                </a:ext>
              </a:extLst>
            </p:cNvPr>
            <p:cNvSpPr txBox="1"/>
            <p:nvPr/>
          </p:nvSpPr>
          <p:spPr>
            <a:xfrm>
              <a:off x="9551655" y="2125987"/>
              <a:ext cx="1836000" cy="480131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Projected</a:t>
              </a:r>
            </a:p>
            <a:p>
              <a:pPr algn="ctr" defTabSz="914377">
                <a:lnSpc>
                  <a:spcPct val="90000"/>
                </a:lnSpc>
                <a:defRPr/>
              </a:pPr>
              <a:r>
                <a:rPr lang="en-US" sz="1400" b="1" kern="0" dirty="0">
                  <a:solidFill>
                    <a:prstClr val="black"/>
                  </a:solidFill>
                  <a:latin typeface="Unity" panose="020B0505030303020204" pitchFamily="34" charset="0"/>
                  <a:cs typeface="Arial"/>
                  <a:sym typeface="Arial"/>
                </a:rPr>
                <a:t>3Y CAGR</a:t>
              </a: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527ECBB9-A64D-4637-B2BD-0CE47B93EFFC}"/>
              </a:ext>
            </a:extLst>
          </p:cNvPr>
          <p:cNvSpPr txBox="1"/>
          <p:nvPr/>
        </p:nvSpPr>
        <p:spPr>
          <a:xfrm>
            <a:off x="9966997" y="3011325"/>
            <a:ext cx="1076824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prstClr val="black"/>
                </a:solidFill>
                <a:latin typeface="Unity" panose="020B0505030303020204" pitchFamily="34" charset="0"/>
                <a:cs typeface="Arial"/>
                <a:sym typeface="Arial"/>
              </a:rPr>
              <a:t>+2%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4F92B82-9454-4410-BC80-4377BA7ACDF9}"/>
              </a:ext>
            </a:extLst>
          </p:cNvPr>
          <p:cNvSpPr txBox="1"/>
          <p:nvPr/>
        </p:nvSpPr>
        <p:spPr>
          <a:xfrm>
            <a:off x="9966997" y="4020741"/>
            <a:ext cx="1076824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+3%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C3AC1ED-E726-44FC-ADA4-639AC4F1C3D5}"/>
              </a:ext>
            </a:extLst>
          </p:cNvPr>
          <p:cNvSpPr txBox="1"/>
          <p:nvPr/>
        </p:nvSpPr>
        <p:spPr>
          <a:xfrm>
            <a:off x="9966997" y="5062201"/>
            <a:ext cx="1076824" cy="4247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 defTabSz="914377">
              <a:lnSpc>
                <a:spcPct val="90000"/>
              </a:lnSpc>
              <a:defRPr/>
            </a:pPr>
            <a:r>
              <a:rPr lang="en-US" sz="2400" b="1" kern="0" dirty="0">
                <a:solidFill>
                  <a:srgbClr val="44546A"/>
                </a:solidFill>
                <a:latin typeface="Unity" panose="020B0505030303020204" pitchFamily="34" charset="0"/>
                <a:cs typeface="Arial"/>
                <a:sym typeface="Arial"/>
              </a:rPr>
              <a:t>+16%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04AED8C4-5B3D-4AE3-B6DB-09272BDBEEFD}"/>
              </a:ext>
            </a:extLst>
          </p:cNvPr>
          <p:cNvSpPr/>
          <p:nvPr/>
        </p:nvSpPr>
        <p:spPr>
          <a:xfrm>
            <a:off x="9633695" y="4791391"/>
            <a:ext cx="1748695" cy="866460"/>
          </a:xfrm>
          <a:prstGeom prst="ellipse">
            <a:avLst/>
          </a:prstGeom>
          <a:noFill/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600" dirty="0">
              <a:solidFill>
                <a:srgbClr val="000000"/>
              </a:solidFill>
              <a:latin typeface="Unity" panose="020B0505030303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911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17C1F3-A81F-4F86-9D7A-6256428949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1578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17C1F3-A81F-4F86-9D7A-625642894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6B4DC0B-7B50-6B7D-E996-F4DFFDFC27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 descr="Shape, arrow&#10;&#10;Description automatically generated">
            <a:extLst>
              <a:ext uri="{FF2B5EF4-FFF2-40B4-BE49-F238E27FC236}">
                <a16:creationId xmlns:a16="http://schemas.microsoft.com/office/drawing/2014/main" id="{CE1C1568-1BAB-D137-0E7F-7567B7C8A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3820" y="137786"/>
            <a:ext cx="1563399" cy="1568509"/>
          </a:xfrm>
          <a:prstGeom prst="rect">
            <a:avLst/>
          </a:prstGeom>
        </p:spPr>
      </p:pic>
      <p:sp>
        <p:nvSpPr>
          <p:cNvPr id="19" name="Google Shape;130;p25">
            <a:extLst>
              <a:ext uri="{FF2B5EF4-FFF2-40B4-BE49-F238E27FC236}">
                <a16:creationId xmlns:a16="http://schemas.microsoft.com/office/drawing/2014/main" id="{EA535F75-FA37-4919-B268-617CCF63E88D}"/>
              </a:ext>
            </a:extLst>
          </p:cNvPr>
          <p:cNvSpPr txBox="1"/>
          <p:nvPr/>
        </p:nvSpPr>
        <p:spPr>
          <a:xfrm>
            <a:off x="2131352" y="454466"/>
            <a:ext cx="9209748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  <a:defRPr/>
            </a:pPr>
            <a:r>
              <a:rPr lang="en-US" sz="2400" b="1" kern="0" dirty="0">
                <a:latin typeface="Unity" panose="020B0505030303020204" pitchFamily="34" charset="0"/>
                <a:ea typeface="Lexend"/>
                <a:cs typeface="Lexend"/>
                <a:sym typeface="Lexend"/>
              </a:rPr>
              <a:t>In SS, 300 RGB was the aligned solution for affordable recruitment @ R5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DFEE45-0AA7-470F-8AFF-2A9CFE861206}"/>
              </a:ext>
            </a:extLst>
          </p:cNvPr>
          <p:cNvSpPr/>
          <p:nvPr/>
        </p:nvSpPr>
        <p:spPr>
          <a:xfrm>
            <a:off x="6139183" y="1654416"/>
            <a:ext cx="5421252" cy="2569031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lIns="91439" tIns="45719" rIns="91439" bIns="45719" rtlCol="0" anchor="ctr"/>
          <a:lstStyle/>
          <a:p>
            <a:pPr algn="ctr" defTabSz="914377">
              <a:defRPr/>
            </a:pPr>
            <a:endParaRPr lang="en-US" kern="0" dirty="0">
              <a:solidFill>
                <a:prstClr val="white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DDA140F-D664-459A-99AE-E07297829665}"/>
              </a:ext>
            </a:extLst>
          </p:cNvPr>
          <p:cNvSpPr/>
          <p:nvPr/>
        </p:nvSpPr>
        <p:spPr>
          <a:xfrm>
            <a:off x="6152769" y="1782102"/>
            <a:ext cx="54076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defRPr/>
            </a:pPr>
            <a:r>
              <a:rPr lang="en-US" sz="1600" b="1" dirty="0">
                <a:solidFill>
                  <a:srgbClr val="C00000"/>
                </a:solidFill>
                <a:latin typeface="Unity" panose="020B0505030303020204" pitchFamily="34" charset="0"/>
                <a:cs typeface="Arial"/>
                <a:sym typeface="Arial"/>
              </a:rPr>
              <a:t>Entry Pack price is globally recommended @ 3%-5% vs DDI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EF116CC-AD7E-4F9C-A720-91FE574B89A3}"/>
              </a:ext>
            </a:extLst>
          </p:cNvPr>
          <p:cNvSpPr txBox="1"/>
          <p:nvPr/>
        </p:nvSpPr>
        <p:spPr>
          <a:xfrm>
            <a:off x="6505419" y="2494563"/>
            <a:ext cx="2283227" cy="150810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dirty="0">
                <a:solidFill>
                  <a:srgbClr val="F40009"/>
                </a:solidFill>
                <a:latin typeface="Unity" panose="020B0505030303020204" pitchFamily="34" charset="0"/>
                <a:cs typeface="Arial"/>
                <a:sym typeface="Arial"/>
              </a:rPr>
              <a:t>LSM B+C</a:t>
            </a:r>
            <a:r>
              <a:rPr lang="en-US" dirty="0">
                <a:solidFill>
                  <a:srgbClr val="5D6470"/>
                </a:solidFill>
                <a:latin typeface="Unity" panose="020B0505030303020204" pitchFamily="34" charset="0"/>
                <a:cs typeface="Arial"/>
                <a:sym typeface="Arial"/>
              </a:rPr>
              <a:t>	</a:t>
            </a:r>
          </a:p>
          <a:p>
            <a:pPr defTabSz="914377">
              <a:defRPr/>
            </a:pPr>
            <a:endParaRPr lang="en-US" sz="1200" dirty="0">
              <a:solidFill>
                <a:srgbClr val="5D6470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defTabSz="914377">
              <a:tabLst>
                <a:tab pos="1719220" algn="r"/>
              </a:tabLst>
              <a:defRPr/>
            </a:pPr>
            <a:r>
              <a:rPr lang="en-US" sz="1600" dirty="0">
                <a:solidFill>
                  <a:srgbClr val="5D6470"/>
                </a:solidFill>
                <a:latin typeface="Unity" panose="020B0505030303020204" pitchFamily="34" charset="0"/>
                <a:cs typeface="Arial"/>
                <a:sym typeface="Arial"/>
              </a:rPr>
              <a:t>Population	</a:t>
            </a:r>
            <a:r>
              <a:rPr lang="en-US" sz="1600" b="1" dirty="0">
                <a:solidFill>
                  <a:srgbClr val="F40009"/>
                </a:solidFill>
                <a:latin typeface="Unity" panose="020B0505030303020204" pitchFamily="34" charset="0"/>
                <a:cs typeface="Arial"/>
                <a:sym typeface="Arial"/>
              </a:rPr>
              <a:t>76%</a:t>
            </a:r>
          </a:p>
          <a:p>
            <a:pPr defTabSz="914377">
              <a:tabLst>
                <a:tab pos="1719220" algn="r"/>
              </a:tabLst>
              <a:defRPr/>
            </a:pPr>
            <a:endParaRPr lang="en-US" sz="1600" dirty="0">
              <a:solidFill>
                <a:srgbClr val="5D6470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defTabSz="914377">
              <a:tabLst>
                <a:tab pos="1719220" algn="r"/>
              </a:tabLst>
              <a:defRPr/>
            </a:pPr>
            <a:r>
              <a:rPr lang="en-US" sz="1600" dirty="0">
                <a:solidFill>
                  <a:srgbClr val="5D6470"/>
                </a:solidFill>
                <a:latin typeface="Unity" panose="020B0505030303020204" pitchFamily="34" charset="0"/>
                <a:cs typeface="Arial"/>
                <a:sym typeface="Arial"/>
              </a:rPr>
              <a:t>Daily Inc.	</a:t>
            </a:r>
            <a:r>
              <a:rPr lang="en-US" sz="1600" b="1" dirty="0">
                <a:solidFill>
                  <a:srgbClr val="F40009"/>
                </a:solidFill>
                <a:latin typeface="Unity" panose="020B0505030303020204" pitchFamily="34" charset="0"/>
                <a:cs typeface="Arial"/>
                <a:sym typeface="Arial"/>
              </a:rPr>
              <a:t>R105.41</a:t>
            </a:r>
          </a:p>
          <a:p>
            <a:pPr defTabSz="914377">
              <a:tabLst>
                <a:tab pos="1142971" algn="r"/>
              </a:tabLst>
              <a:defRPr/>
            </a:pPr>
            <a:endParaRPr lang="en-US" sz="1400" dirty="0" err="1">
              <a:solidFill>
                <a:srgbClr val="5D6470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15940AC-F78E-410C-A3D5-F01BD8983535}"/>
              </a:ext>
            </a:extLst>
          </p:cNvPr>
          <p:cNvSpPr/>
          <p:nvPr/>
        </p:nvSpPr>
        <p:spPr>
          <a:xfrm>
            <a:off x="9375101" y="2492297"/>
            <a:ext cx="1789272" cy="15388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377">
              <a:defRPr/>
            </a:pPr>
            <a:r>
              <a:rPr lang="en-US" kern="0" dirty="0">
                <a:solidFill>
                  <a:srgbClr val="F40009"/>
                </a:solidFill>
                <a:latin typeface="Unity" panose="020B0505030303020204" pitchFamily="34" charset="0"/>
                <a:cs typeface="Arial"/>
                <a:sym typeface="Arial"/>
              </a:rPr>
              <a:t>DDI</a:t>
            </a:r>
          </a:p>
          <a:p>
            <a:pPr algn="ctr" defTabSz="914377">
              <a:defRPr/>
            </a:pPr>
            <a:endParaRPr lang="en-US" sz="1200" b="1" kern="0" dirty="0">
              <a:solidFill>
                <a:srgbClr val="C00000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algn="ctr" defTabSz="914377">
              <a:defRPr/>
            </a:pPr>
            <a:r>
              <a:rPr lang="en-US" sz="1600" kern="0" dirty="0">
                <a:solidFill>
                  <a:srgbClr val="5D6470"/>
                </a:solidFill>
                <a:latin typeface="Unity" panose="020B0505030303020204" pitchFamily="34" charset="0"/>
                <a:cs typeface="Arial"/>
                <a:sym typeface="Arial"/>
              </a:rPr>
              <a:t>3%	5%</a:t>
            </a:r>
          </a:p>
          <a:p>
            <a:pPr algn="ctr" defTabSz="914377">
              <a:defRPr/>
            </a:pPr>
            <a:endParaRPr lang="en-US" sz="1600" b="1" kern="0" dirty="0">
              <a:solidFill>
                <a:srgbClr val="C00000"/>
              </a:solidFill>
              <a:latin typeface="Unity" panose="020B0505030303020204" pitchFamily="34" charset="0"/>
              <a:cs typeface="Arial"/>
              <a:sym typeface="Arial"/>
            </a:endParaRPr>
          </a:p>
          <a:p>
            <a:pPr algn="ctr" defTabSz="914377">
              <a:defRPr/>
            </a:pPr>
            <a:r>
              <a:rPr lang="en-US" sz="1600" b="1" kern="0" dirty="0">
                <a:solidFill>
                  <a:srgbClr val="F40009"/>
                </a:solidFill>
                <a:latin typeface="Unity" panose="020B0505030303020204" pitchFamily="34" charset="0"/>
                <a:cs typeface="Arial"/>
                <a:sym typeface="Arial"/>
              </a:rPr>
              <a:t>R 3.16 - R5.27 </a:t>
            </a:r>
          </a:p>
          <a:p>
            <a:pPr algn="ctr" defTabSz="914377">
              <a:defRPr/>
            </a:pPr>
            <a:endParaRPr lang="en-US" sz="1600" kern="0" dirty="0">
              <a:solidFill>
                <a:srgbClr val="5D6470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sp>
        <p:nvSpPr>
          <p:cNvPr id="47" name="Right Arrow 17">
            <a:extLst>
              <a:ext uri="{FF2B5EF4-FFF2-40B4-BE49-F238E27FC236}">
                <a16:creationId xmlns:a16="http://schemas.microsoft.com/office/drawing/2014/main" id="{D925B209-3DCD-404B-8C11-3EA78F787589}"/>
              </a:ext>
            </a:extLst>
          </p:cNvPr>
          <p:cNvSpPr/>
          <p:nvPr/>
        </p:nvSpPr>
        <p:spPr>
          <a:xfrm>
            <a:off x="8663902" y="3129100"/>
            <a:ext cx="562794" cy="408323"/>
          </a:xfrm>
          <a:prstGeom prst="rightArrow">
            <a:avLst/>
          </a:prstGeom>
          <a:solidFill>
            <a:srgbClr val="E62328"/>
          </a:solidFill>
          <a:ln w="25400" cap="flat" cmpd="sng" algn="ctr">
            <a:noFill/>
            <a:prstDash val="solid"/>
          </a:ln>
          <a:effectLst/>
        </p:spPr>
        <p:txBody>
          <a:bodyPr lIns="91439" tIns="45719" rIns="91439" bIns="45719" rtlCol="0" anchor="ctr"/>
          <a:lstStyle/>
          <a:p>
            <a:pPr algn="ctr" defTabSz="914377">
              <a:defRPr/>
            </a:pPr>
            <a:endParaRPr lang="en-US" kern="0" dirty="0">
              <a:solidFill>
                <a:prstClr val="white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461C1B83-4814-4C4D-917E-ABB62420FF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56915" y="1538688"/>
            <a:ext cx="3933203" cy="2535176"/>
          </a:xfrm>
          <a:prstGeom prst="rect">
            <a:avLst/>
          </a:prstGeom>
        </p:spPr>
      </p:pic>
      <p:sp>
        <p:nvSpPr>
          <p:cNvPr id="49" name="Right Brace 48">
            <a:extLst>
              <a:ext uri="{FF2B5EF4-FFF2-40B4-BE49-F238E27FC236}">
                <a16:creationId xmlns:a16="http://schemas.microsoft.com/office/drawing/2014/main" id="{B8115A8F-F556-4236-A97C-1100C3D68C89}"/>
              </a:ext>
            </a:extLst>
          </p:cNvPr>
          <p:cNvSpPr/>
          <p:nvPr/>
        </p:nvSpPr>
        <p:spPr>
          <a:xfrm>
            <a:off x="5834575" y="2492297"/>
            <a:ext cx="195402" cy="1467686"/>
          </a:xfrm>
          <a:prstGeom prst="rightBrace">
            <a:avLst/>
          </a:prstGeom>
          <a:noFill/>
          <a:ln w="28575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US" kern="0" dirty="0">
              <a:solidFill>
                <a:srgbClr val="5D6470"/>
              </a:solidFill>
              <a:latin typeface="Unity" panose="020B0505030303020204" pitchFamily="34" charset="0"/>
              <a:cs typeface="Arial"/>
              <a:sym typeface="Arial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33419CB4-8AB9-48A2-893B-F35DE08D22F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3824" b="47353" l="26875" r="30625">
                        <a14:foregroundMark x1="28438" y1="27843" x2="28438" y2="27843"/>
                        <a14:foregroundMark x1="28750" y1="26176" x2="28854" y2="31569"/>
                        <a14:foregroundMark x1="28229" y1="25000" x2="27396" y2="46373"/>
                        <a14:foregroundMark x1="27396" y1="46373" x2="29844" y2="46961"/>
                        <a14:foregroundMark x1="29844" y1="46961" x2="30156" y2="46569"/>
                        <a14:foregroundMark x1="29063" y1="47059" x2="29635" y2="47353"/>
                        <a14:foregroundMark x1="28281" y1="23824" x2="29740" y2="24314"/>
                        <a14:foregroundMark x1="28021" y1="46863" x2="30052" y2="47157"/>
                        <a14:backgroundMark x1="29792" y1="24412" x2="29792" y2="23922"/>
                        <a14:backgroundMark x1="29740" y1="24706" x2="29635" y2="24020"/>
                        <a14:backgroundMark x1="29688" y1="25196" x2="29688" y2="24314"/>
                      </a14:backgroundRemoval>
                    </a14:imgEffect>
                  </a14:imgLayer>
                </a14:imgProps>
              </a:ext>
            </a:extLst>
          </a:blip>
          <a:srcRect l="26538" t="22503" r="68779" b="51206"/>
          <a:stretch/>
        </p:blipFill>
        <p:spPr>
          <a:xfrm>
            <a:off x="651151" y="4524947"/>
            <a:ext cx="607434" cy="1811811"/>
          </a:xfrm>
          <a:prstGeom prst="rect">
            <a:avLst/>
          </a:prstGeom>
        </p:spPr>
      </p:pic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2CCB561E-705C-47E0-9B0D-1D2D4A2651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42227"/>
              </p:ext>
            </p:extLst>
          </p:nvPr>
        </p:nvGraphicFramePr>
        <p:xfrm>
          <a:off x="1595335" y="4448871"/>
          <a:ext cx="9965100" cy="184400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94812">
                  <a:extLst>
                    <a:ext uri="{9D8B030D-6E8A-4147-A177-3AD203B41FA5}">
                      <a16:colId xmlns:a16="http://schemas.microsoft.com/office/drawing/2014/main" val="1194331072"/>
                    </a:ext>
                  </a:extLst>
                </a:gridCol>
                <a:gridCol w="2502569">
                  <a:extLst>
                    <a:ext uri="{9D8B030D-6E8A-4147-A177-3AD203B41FA5}">
                      <a16:colId xmlns:a16="http://schemas.microsoft.com/office/drawing/2014/main" val="3607240558"/>
                    </a:ext>
                  </a:extLst>
                </a:gridCol>
                <a:gridCol w="3667719">
                  <a:extLst>
                    <a:ext uri="{9D8B030D-6E8A-4147-A177-3AD203B41FA5}">
                      <a16:colId xmlns:a16="http://schemas.microsoft.com/office/drawing/2014/main" val="4124179014"/>
                    </a:ext>
                  </a:extLst>
                </a:gridCol>
              </a:tblGrid>
              <a:tr h="303088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>
                          <a:solidFill>
                            <a:schemeClr val="bg1"/>
                          </a:solidFill>
                          <a:latin typeface="Unity" panose="020B0505030303020204" pitchFamily="34" charset="0"/>
                        </a:rPr>
                        <a:t>PROS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Unity" panose="020B0505030303020204" pitchFamily="34" charset="0"/>
                      </a:endParaRPr>
                    </a:p>
                  </a:txBody>
                  <a:tcPr anchor="ctr">
                    <a:solidFill>
                      <a:srgbClr val="EE292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>
                          <a:solidFill>
                            <a:schemeClr val="bg1"/>
                          </a:solidFill>
                          <a:latin typeface="Unity" panose="020B0505030303020204" pitchFamily="34" charset="0"/>
                        </a:rPr>
                        <a:t>CONS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Unity" panose="020B0505030303020204" pitchFamily="34" charset="0"/>
                      </a:endParaRPr>
                    </a:p>
                  </a:txBody>
                  <a:tcPr anchor="ctr">
                    <a:solidFill>
                      <a:srgbClr val="EE292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>
                          <a:solidFill>
                            <a:schemeClr val="bg1"/>
                          </a:solidFill>
                          <a:latin typeface="Unity" panose="020B0505030303020204" pitchFamily="34" charset="0"/>
                        </a:rPr>
                        <a:t>WHAT IS NEEDED?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Unity" panose="020B0505030303020204" pitchFamily="34" charset="0"/>
                      </a:endParaRPr>
                    </a:p>
                  </a:txBody>
                  <a:tcPr anchor="ctr">
                    <a:solidFill>
                      <a:srgbClr val="EE29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9041248"/>
                  </a:ext>
                </a:extLst>
              </a:tr>
              <a:tr h="1508723">
                <a:tc>
                  <a:txBody>
                    <a:bodyPr/>
                    <a:lstStyle/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Glass better experience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Returnable strategy for emerging markets with affordability solutions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Sustainable way to achieve right price point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No Pet Levy Risk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Limitation for on the go occasion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Channel expansion limitation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R429 legislation</a:t>
                      </a:r>
                    </a:p>
                    <a:p>
                      <a:pPr algn="ctr" rtl="0"/>
                      <a:endParaRPr lang="en-US" sz="1400" dirty="0">
                        <a:latin typeface="Unity" panose="020B0505030303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Launch Zero versions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Price compliance: Change glass float to paper label Assess bottle and crate investment</a:t>
                      </a:r>
                    </a:p>
                    <a:p>
                      <a:pPr marL="171446" indent="-171446" defTabSz="914377" rtl="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400" kern="0" dirty="0">
                          <a:solidFill>
                            <a:srgbClr val="5D6470"/>
                          </a:solidFill>
                          <a:latin typeface="Unity" panose="020B0505030303020204" pitchFamily="34" charset="0"/>
                          <a:cs typeface="Arial"/>
                          <a:sym typeface="Arial"/>
                        </a:rPr>
                        <a:t>Numeric distribution to 90%</a:t>
                      </a:r>
                    </a:p>
                    <a:p>
                      <a:pPr algn="ctr" rtl="0"/>
                      <a:endParaRPr lang="en-US" sz="1400" dirty="0">
                        <a:latin typeface="Unity" panose="020B0505030303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6636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712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1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1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19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_82BO3Wk2MIuDNyYTzr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0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2f7GEhTKQqQ.IKWv1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2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3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7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49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9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59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1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9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69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7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701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i2f7GEhTKQqQ.IKWv1k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_82BO3Wk2MIuDNyYTz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Office Theme">
  <a:themeElements>
    <a:clrScheme name="TCCC Pale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0009"/>
      </a:accent1>
      <a:accent2>
        <a:srgbClr val="FF560E"/>
      </a:accent2>
      <a:accent3>
        <a:srgbClr val="E5813E"/>
      </a:accent3>
      <a:accent4>
        <a:srgbClr val="B59E74"/>
      </a:accent4>
      <a:accent5>
        <a:srgbClr val="69C9CE"/>
      </a:accent5>
      <a:accent6>
        <a:srgbClr val="69C97F"/>
      </a:accent6>
      <a:hlink>
        <a:srgbClr val="F30009"/>
      </a:hlink>
      <a:folHlink>
        <a:srgbClr val="999999"/>
      </a:folHlink>
    </a:clrScheme>
    <a:fontScheme name="Custom 2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_Office Theme">
  <a:themeElements>
    <a:clrScheme name="TCCC Pale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0009"/>
      </a:accent1>
      <a:accent2>
        <a:srgbClr val="FF560E"/>
      </a:accent2>
      <a:accent3>
        <a:srgbClr val="E5813E"/>
      </a:accent3>
      <a:accent4>
        <a:srgbClr val="B59E74"/>
      </a:accent4>
      <a:accent5>
        <a:srgbClr val="69C9CE"/>
      </a:accent5>
      <a:accent6>
        <a:srgbClr val="69C97F"/>
      </a:accent6>
      <a:hlink>
        <a:srgbClr val="F30009"/>
      </a:hlink>
      <a:folHlink>
        <a:srgbClr val="99999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e_Primary_PowerPoint_Template_01_FIN" id="{812C2D83-85C3-4F64-82C9-777F07B8B633}" vid="{401231FC-13F1-4D71-A134-74C90754EA82}"/>
    </a:ext>
  </a:extLst>
</a:theme>
</file>

<file path=ppt/theme/theme4.xml><?xml version="1.0" encoding="utf-8"?>
<a:theme xmlns:a="http://schemas.openxmlformats.org/drawingml/2006/main" name="Coca Cola Standard EUR Template">
  <a:themeElements>
    <a:clrScheme name="Coca Cola Standard EUR Template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CC0000"/>
      </a:accent1>
      <a:accent2>
        <a:srgbClr val="FFCC99"/>
      </a:accent2>
      <a:accent3>
        <a:srgbClr val="FF0000"/>
      </a:accent3>
      <a:accent4>
        <a:srgbClr val="FFB770"/>
      </a:accent4>
      <a:accent5>
        <a:srgbClr val="CC6600"/>
      </a:accent5>
      <a:accent6>
        <a:srgbClr val="EFE0D1"/>
      </a:accent6>
      <a:hlink>
        <a:srgbClr val="262672"/>
      </a:hlink>
      <a:folHlink>
        <a:srgbClr val="A3A3E0"/>
      </a:folHlink>
    </a:clrScheme>
    <a:fontScheme name="Coca Cola Standard EUR Templat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  <a:cs typeface="ＭＳ Ｐゴシック" pitchFamily="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1" charset="-128"/>
            <a:cs typeface="ＭＳ Ｐゴシック" pitchFamily="1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oca-Cola_CF_COC614">
  <a:themeElements>
    <a:clrScheme name="Current">
      <a:dk1>
        <a:srgbClr val="5D6470"/>
      </a:dk1>
      <a:lt1>
        <a:srgbClr val="FFFFFF"/>
      </a:lt1>
      <a:dk2>
        <a:srgbClr val="5D6470"/>
      </a:dk2>
      <a:lt2>
        <a:srgbClr val="FFFFFF"/>
      </a:lt2>
      <a:accent1>
        <a:srgbClr val="D4D4D4"/>
      </a:accent1>
      <a:accent2>
        <a:srgbClr val="8E9090"/>
      </a:accent2>
      <a:accent3>
        <a:srgbClr val="F40009"/>
      </a:accent3>
      <a:accent4>
        <a:srgbClr val="A60004"/>
      </a:accent4>
      <a:accent5>
        <a:srgbClr val="5A5A5A"/>
      </a:accent5>
      <a:accent6>
        <a:srgbClr val="808080"/>
      </a:accent6>
      <a:hlink>
        <a:srgbClr val="F40009"/>
      </a:hlink>
      <a:folHlink>
        <a:srgbClr val="A60004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Current">
        <a:dk1>
          <a:srgbClr val="5D6470"/>
        </a:dk1>
        <a:lt1>
          <a:srgbClr val="FFFFFF"/>
        </a:lt1>
        <a:dk2>
          <a:srgbClr val="5D6470"/>
        </a:dk2>
        <a:lt2>
          <a:srgbClr val="FFFFFF"/>
        </a:lt2>
        <a:accent1>
          <a:srgbClr val="D4D4D4"/>
        </a:accent1>
        <a:accent2>
          <a:srgbClr val="8E9090"/>
        </a:accent2>
        <a:accent3>
          <a:srgbClr val="F40009"/>
        </a:accent3>
        <a:accent4>
          <a:srgbClr val="A60004"/>
        </a:accent4>
        <a:accent5>
          <a:srgbClr val="5A5A5A"/>
        </a:accent5>
        <a:accent6>
          <a:srgbClr val="808080"/>
        </a:accent6>
        <a:hlink>
          <a:srgbClr val="F40009"/>
        </a:hlink>
        <a:folHlink>
          <a:srgbClr val="A600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ca-Cola_CF_COC614.potx" id="{082E33DB-F467-4C17-AD47-29ED05000540}" vid="{49E3178D-7E3D-4389-92DF-08001B37660E}"/>
    </a:ext>
  </a:extLst>
</a:theme>
</file>

<file path=ppt/theme/theme7.xml><?xml version="1.0" encoding="utf-8"?>
<a:theme xmlns:a="http://schemas.openxmlformats.org/drawingml/2006/main" name="6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7_Office Theme">
  <a:themeElements>
    <a:clrScheme name="TCCC Palett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30009"/>
      </a:accent1>
      <a:accent2>
        <a:srgbClr val="FF560E"/>
      </a:accent2>
      <a:accent3>
        <a:srgbClr val="E5813E"/>
      </a:accent3>
      <a:accent4>
        <a:srgbClr val="B59E74"/>
      </a:accent4>
      <a:accent5>
        <a:srgbClr val="69C9CE"/>
      </a:accent5>
      <a:accent6>
        <a:srgbClr val="69C97F"/>
      </a:accent6>
      <a:hlink>
        <a:srgbClr val="F30009"/>
      </a:hlink>
      <a:folHlink>
        <a:srgbClr val="999999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e_Primary_PowerPoint_Template_01_FIN" id="{812C2D83-85C3-4F64-82C9-777F07B8B633}" vid="{401231FC-13F1-4D71-A134-74C90754EA8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oca Cola Standard EUR Template">
    <a:dk1>
      <a:srgbClr val="000000"/>
    </a:dk1>
    <a:lt1>
      <a:srgbClr val="FFFFFF"/>
    </a:lt1>
    <a:dk2>
      <a:srgbClr val="595959"/>
    </a:dk2>
    <a:lt2>
      <a:srgbClr val="FFFFFF"/>
    </a:lt2>
    <a:accent1>
      <a:srgbClr val="CC0000"/>
    </a:accent1>
    <a:accent2>
      <a:srgbClr val="FFCC99"/>
    </a:accent2>
    <a:accent3>
      <a:srgbClr val="FF0000"/>
    </a:accent3>
    <a:accent4>
      <a:srgbClr val="FFB770"/>
    </a:accent4>
    <a:accent5>
      <a:srgbClr val="CC6600"/>
    </a:accent5>
    <a:accent6>
      <a:srgbClr val="EFE0D1"/>
    </a:accent6>
    <a:hlink>
      <a:srgbClr val="262672"/>
    </a:hlink>
    <a:folHlink>
      <a:srgbClr val="A3A3E0"/>
    </a:folHlink>
  </a:clrScheme>
  <a:fontScheme name="Coca Cola Standard EUR Templat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716</TotalTime>
  <Words>1369</Words>
  <Application>Microsoft Office PowerPoint</Application>
  <PresentationFormat>Widescreen</PresentationFormat>
  <Paragraphs>381</Paragraphs>
  <Slides>22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49" baseType="lpstr">
      <vt:lpstr>Arial</vt:lpstr>
      <vt:lpstr>Arial Bold</vt:lpstr>
      <vt:lpstr>Arial Rounded MT Bold</vt:lpstr>
      <vt:lpstr>Calibri</vt:lpstr>
      <vt:lpstr>Calibri Light</vt:lpstr>
      <vt:lpstr>Century Gothic</vt:lpstr>
      <vt:lpstr>Courier New</vt:lpstr>
      <vt:lpstr>Gotham</vt:lpstr>
      <vt:lpstr>Gotham-Book</vt:lpstr>
      <vt:lpstr>Segoe UI</vt:lpstr>
      <vt:lpstr>Tahoma</vt:lpstr>
      <vt:lpstr>TCCC-UnityHeadline</vt:lpstr>
      <vt:lpstr>TCCC-UnityText</vt:lpstr>
      <vt:lpstr>TCCC-UnityTextPC</vt:lpstr>
      <vt:lpstr>Times</vt:lpstr>
      <vt:lpstr>Unity</vt:lpstr>
      <vt:lpstr>Wingdings</vt:lpstr>
      <vt:lpstr>4_Office Theme</vt:lpstr>
      <vt:lpstr>3_Office Theme</vt:lpstr>
      <vt:lpstr>5_Office Theme</vt:lpstr>
      <vt:lpstr>Coca Cola Standard EUR Template</vt:lpstr>
      <vt:lpstr>Office Theme</vt:lpstr>
      <vt:lpstr>1_Coca-Cola_CF_COC614</vt:lpstr>
      <vt:lpstr>6_Office Theme</vt:lpstr>
      <vt:lpstr>7_Office Theme</vt:lpstr>
      <vt:lpstr>think-cell Slide</vt:lpstr>
      <vt:lpstr>Acrobat 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uth Africa - Recruit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uth Africa - Recruitment</vt:lpstr>
      <vt:lpstr>Horeca Spain industry in a nutsh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to Success: System Alignment and a holistic approach with long term consistency and investments commitment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ephine Katipunan</dc:creator>
  <cp:lastModifiedBy>Aycan Yilmaz</cp:lastModifiedBy>
  <cp:revision>129</cp:revision>
  <dcterms:created xsi:type="dcterms:W3CDTF">2022-06-02T23:50:09Z</dcterms:created>
  <dcterms:modified xsi:type="dcterms:W3CDTF">2023-01-11T11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etDate">
    <vt:lpwstr>2022-07-13T15:07:35Z</vt:lpwstr>
  </property>
  <property fmtid="{D5CDD505-2E9C-101B-9397-08002B2CF9AE}" pid="4" name="MSIP_Label_0702bf62-88e6-456d-b298-e2abb13de1ea_Method">
    <vt:lpwstr>Standard</vt:lpwstr>
  </property>
  <property fmtid="{D5CDD505-2E9C-101B-9397-08002B2CF9AE}" pid="5" name="MSIP_Label_0702bf62-88e6-456d-b298-e2abb13de1ea_Name">
    <vt:lpwstr>0702bf62-88e6-456d-b298-e2abb13de1ea</vt:lpwstr>
  </property>
  <property fmtid="{D5CDD505-2E9C-101B-9397-08002B2CF9AE}" pid="6" name="MSIP_Label_0702bf62-88e6-456d-b298-e2abb13de1ea_SiteId">
    <vt:lpwstr>548d26ab-8caa-49e1-97c2-a1b1a06cc39c</vt:lpwstr>
  </property>
  <property fmtid="{D5CDD505-2E9C-101B-9397-08002B2CF9AE}" pid="7" name="MSIP_Label_0702bf62-88e6-456d-b298-e2abb13de1ea_ActionId">
    <vt:lpwstr>bb6f94ce-ef21-43b4-92bb-f9b82564e17f</vt:lpwstr>
  </property>
  <property fmtid="{D5CDD505-2E9C-101B-9397-08002B2CF9AE}" pid="8" name="MSIP_Label_0702bf62-88e6-456d-b298-e2abb13de1ea_ContentBits">
    <vt:lpwstr>2</vt:lpwstr>
  </property>
</Properties>
</file>